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3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37" r:id="rId5"/>
  </p:sldMasterIdLst>
  <p:notesMasterIdLst>
    <p:notesMasterId r:id="rId60"/>
  </p:notesMasterIdLst>
  <p:sldIdLst>
    <p:sldId id="2147482920" r:id="rId6"/>
    <p:sldId id="2147482921" r:id="rId7"/>
    <p:sldId id="2128752379" r:id="rId8"/>
    <p:sldId id="2128752376" r:id="rId9"/>
    <p:sldId id="2147481899" r:id="rId10"/>
    <p:sldId id="2147481903" r:id="rId11"/>
    <p:sldId id="2147481902" r:id="rId12"/>
    <p:sldId id="2147483450" r:id="rId13"/>
    <p:sldId id="2147483573" r:id="rId14"/>
    <p:sldId id="2147481905" r:id="rId15"/>
    <p:sldId id="2147482919" r:id="rId16"/>
    <p:sldId id="2147483451" r:id="rId17"/>
    <p:sldId id="2147483438" r:id="rId18"/>
    <p:sldId id="2147482935" r:id="rId19"/>
    <p:sldId id="2147483453" r:id="rId20"/>
    <p:sldId id="2147482924" r:id="rId21"/>
    <p:sldId id="2147474651" r:id="rId22"/>
    <p:sldId id="2147483449" r:id="rId23"/>
    <p:sldId id="2147483582" r:id="rId24"/>
    <p:sldId id="2147483583" r:id="rId25"/>
    <p:sldId id="2147483585" r:id="rId26"/>
    <p:sldId id="2147483584" r:id="rId27"/>
    <p:sldId id="2147481891" r:id="rId28"/>
    <p:sldId id="2147481304" r:id="rId29"/>
    <p:sldId id="2147483631" r:id="rId30"/>
    <p:sldId id="2147481911" r:id="rId31"/>
    <p:sldId id="2147482925" r:id="rId32"/>
    <p:sldId id="2147483454" r:id="rId33"/>
    <p:sldId id="2147483436" r:id="rId34"/>
    <p:sldId id="2147481887" r:id="rId35"/>
    <p:sldId id="2147482928" r:id="rId36"/>
    <p:sldId id="2147481915" r:id="rId37"/>
    <p:sldId id="2147481916" r:id="rId38"/>
    <p:sldId id="2147482937" r:id="rId39"/>
    <p:sldId id="2147482938" r:id="rId40"/>
    <p:sldId id="2147481921" r:id="rId41"/>
    <p:sldId id="2147483580" r:id="rId42"/>
    <p:sldId id="2147483097" r:id="rId43"/>
    <p:sldId id="2147482929" r:id="rId44"/>
    <p:sldId id="2147481918" r:id="rId45"/>
    <p:sldId id="2147483440" r:id="rId46"/>
    <p:sldId id="2147483464" r:id="rId47"/>
    <p:sldId id="2147483465" r:id="rId48"/>
    <p:sldId id="2147483444" r:id="rId49"/>
    <p:sldId id="2147483461" r:id="rId50"/>
    <p:sldId id="2147483462" r:id="rId51"/>
    <p:sldId id="2147483439" r:id="rId52"/>
    <p:sldId id="2147483443" r:id="rId53"/>
    <p:sldId id="2147481894" r:id="rId54"/>
    <p:sldId id="2147483441" r:id="rId55"/>
    <p:sldId id="2147483458" r:id="rId56"/>
    <p:sldId id="2147483457" r:id="rId57"/>
    <p:sldId id="2147483442" r:id="rId58"/>
    <p:sldId id="2147483581" r:id="rId59"/>
  </p:sldIdLst>
  <p:sldSz cx="12192000" cy="6858000"/>
  <p:notesSz cx="6797675" cy="9872663"/>
  <p:custDataLst>
    <p:tags r:id="rId61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82920"/>
            <p14:sldId id="2147482921"/>
            <p14:sldId id="2128752379"/>
            <p14:sldId id="2128752376"/>
            <p14:sldId id="2147481899"/>
            <p14:sldId id="2147481903"/>
            <p14:sldId id="2147481902"/>
            <p14:sldId id="2147483450"/>
            <p14:sldId id="2147483573"/>
            <p14:sldId id="2147481905"/>
            <p14:sldId id="2147482919"/>
            <p14:sldId id="2147483451"/>
            <p14:sldId id="2147483438"/>
            <p14:sldId id="2147482935"/>
            <p14:sldId id="2147483453"/>
            <p14:sldId id="2147482924"/>
            <p14:sldId id="2147474651"/>
            <p14:sldId id="2147483449"/>
            <p14:sldId id="2147483582"/>
            <p14:sldId id="2147483583"/>
            <p14:sldId id="2147483585"/>
            <p14:sldId id="2147483584"/>
            <p14:sldId id="2147481891"/>
            <p14:sldId id="2147481304"/>
            <p14:sldId id="2147483631"/>
            <p14:sldId id="2147481911"/>
            <p14:sldId id="2147482925"/>
            <p14:sldId id="2147483454"/>
            <p14:sldId id="2147483436"/>
            <p14:sldId id="2147481887"/>
            <p14:sldId id="2147482928"/>
            <p14:sldId id="2147481915"/>
            <p14:sldId id="2147481916"/>
            <p14:sldId id="2147482937"/>
            <p14:sldId id="2147482938"/>
            <p14:sldId id="2147481921"/>
            <p14:sldId id="2147483580"/>
            <p14:sldId id="2147483097"/>
            <p14:sldId id="2147482929"/>
            <p14:sldId id="2147481918"/>
            <p14:sldId id="2147483440"/>
            <p14:sldId id="2147483464"/>
            <p14:sldId id="2147483465"/>
            <p14:sldId id="2147483444"/>
            <p14:sldId id="2147483461"/>
            <p14:sldId id="2147483462"/>
            <p14:sldId id="2147483439"/>
            <p14:sldId id="2147483443"/>
            <p14:sldId id="2147481894"/>
            <p14:sldId id="2147483441"/>
            <p14:sldId id="2147483458"/>
            <p14:sldId id="2147483457"/>
            <p14:sldId id="2147483442"/>
            <p14:sldId id="2147483581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8CEB01-E8FF-EA7F-A37C-5A7B9BF3D68A}" name="Sebastian Byskov Jensen" initials="SBJ" userId="S::sbjensen@Nilfisk.com::3627f06f-3224-4433-a481-d48ba3e130a2" providerId="AD"/>
  <p188:author id="{CCE1D22A-4564-FEA0-066D-AE80ED435C8C}" name="Line Skovbjerg" initials="LS" userId="S::lskovbjerg@Nilfisk.com::bd8d82be-b2a3-4297-892b-01dc5ddd9e5a" providerId="AD"/>
  <p188:author id="{56045679-34C5-7D29-8C63-60E8645692A4}" name="Sebastian Byskov Jensen" initials="SJ" userId="S::sbjensen@nilfisk.com::3627f06f-3224-4433-a481-d48ba3e130a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997A4"/>
    <a:srgbClr val="FF15CD"/>
    <a:srgbClr val="38AFD9"/>
    <a:srgbClr val="7C878E"/>
    <a:srgbClr val="979797"/>
    <a:srgbClr val="4B4F54"/>
    <a:srgbClr val="606A70"/>
    <a:srgbClr val="D4CFBE"/>
    <a:srgbClr val="8282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12" autoAdjust="0"/>
    <p:restoredTop sz="94660"/>
  </p:normalViewPr>
  <p:slideViewPr>
    <p:cSldViewPr snapToGrid="0">
      <p:cViewPr varScale="1">
        <p:scale>
          <a:sx n="97" d="100"/>
          <a:sy n="97" d="100"/>
        </p:scale>
        <p:origin x="1488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presProps" Target="presProps.xml"/><Relationship Id="rId68" Type="http://schemas.microsoft.com/office/2018/10/relationships/authors" Target="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tags" Target="tags/tag1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microsoft.com/office/2016/11/relationships/changesInfo" Target="changesInfos/changesInfo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notesMaster" Target="notesMasters/notesMaster1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sana Jesus" userId="a4903a7d-807e-44bb-a534-81757c03a373" providerId="ADAL" clId="{AA641570-5FC1-4844-BBD4-60A0B1E6581C}"/>
    <pc:docChg chg="undo redo custSel delSld modSld modSection">
      <pc:chgData name="Susana Jesus" userId="a4903a7d-807e-44bb-a534-81757c03a373" providerId="ADAL" clId="{AA641570-5FC1-4844-BBD4-60A0B1E6581C}" dt="2026-02-19T13:45:16.477" v="223" actId="20577"/>
      <pc:docMkLst>
        <pc:docMk/>
      </pc:docMkLst>
      <pc:sldChg chg="modSp mod">
        <pc:chgData name="Susana Jesus" userId="a4903a7d-807e-44bb-a534-81757c03a373" providerId="ADAL" clId="{AA641570-5FC1-4844-BBD4-60A0B1E6581C}" dt="2026-01-29T14:37:46.069" v="1" actId="14100"/>
        <pc:sldMkLst>
          <pc:docMk/>
          <pc:sldMk cId="2670074598" sldId="2128752376"/>
        </pc:sldMkLst>
        <pc:spChg chg="mod">
          <ac:chgData name="Susana Jesus" userId="a4903a7d-807e-44bb-a534-81757c03a373" providerId="ADAL" clId="{AA641570-5FC1-4844-BBD4-60A0B1E6581C}" dt="2026-01-29T14:37:46.069" v="1" actId="14100"/>
          <ac:spMkLst>
            <pc:docMk/>
            <pc:sldMk cId="2670074598" sldId="2128752376"/>
            <ac:spMk id="11" creationId="{1B3E529D-20E8-DDCA-7758-9A2AD5DA819A}"/>
          </ac:spMkLst>
        </pc:spChg>
      </pc:sldChg>
      <pc:sldChg chg="addSp delSp modSp del mod">
        <pc:chgData name="Susana Jesus" userId="a4903a7d-807e-44bb-a534-81757c03a373" providerId="ADAL" clId="{AA641570-5FC1-4844-BBD4-60A0B1E6581C}" dt="2026-02-19T13:44:29.483" v="210" actId="47"/>
        <pc:sldMkLst>
          <pc:docMk/>
          <pc:sldMk cId="3999053361" sldId="2147473825"/>
        </pc:sldMkLst>
      </pc:sldChg>
      <pc:sldChg chg="addSp delSp modSp del mod">
        <pc:chgData name="Susana Jesus" userId="a4903a7d-807e-44bb-a534-81757c03a373" providerId="ADAL" clId="{AA641570-5FC1-4844-BBD4-60A0B1E6581C}" dt="2026-02-19T13:44:29.483" v="210" actId="47"/>
        <pc:sldMkLst>
          <pc:docMk/>
          <pc:sldMk cId="2673333171" sldId="2147473845"/>
        </pc:sldMkLst>
      </pc:sldChg>
      <pc:sldChg chg="modSp mod">
        <pc:chgData name="Susana Jesus" userId="a4903a7d-807e-44bb-a534-81757c03a373" providerId="ADAL" clId="{AA641570-5FC1-4844-BBD4-60A0B1E6581C}" dt="2026-01-29T14:47:54.415" v="103" actId="14100"/>
        <pc:sldMkLst>
          <pc:docMk/>
          <pc:sldMk cId="2214532210" sldId="2147474651"/>
        </pc:sldMkLst>
        <pc:spChg chg="mod">
          <ac:chgData name="Susana Jesus" userId="a4903a7d-807e-44bb-a534-81757c03a373" providerId="ADAL" clId="{AA641570-5FC1-4844-BBD4-60A0B1E6581C}" dt="2026-01-29T14:47:51.583" v="102" actId="14100"/>
          <ac:spMkLst>
            <pc:docMk/>
            <pc:sldMk cId="2214532210" sldId="2147474651"/>
            <ac:spMk id="36" creationId="{D998A648-00F5-CFE4-F05D-ED8E8755E54B}"/>
          </ac:spMkLst>
        </pc:spChg>
        <pc:spChg chg="mod">
          <ac:chgData name="Susana Jesus" userId="a4903a7d-807e-44bb-a534-81757c03a373" providerId="ADAL" clId="{AA641570-5FC1-4844-BBD4-60A0B1E6581C}" dt="2026-01-29T14:45:38.351" v="86" actId="14100"/>
          <ac:spMkLst>
            <pc:docMk/>
            <pc:sldMk cId="2214532210" sldId="2147474651"/>
            <ac:spMk id="47" creationId="{4C6567FA-7D24-5AEF-86EE-7973AA9045AD}"/>
          </ac:spMkLst>
        </pc:spChg>
        <pc:spChg chg="mod">
          <ac:chgData name="Susana Jesus" userId="a4903a7d-807e-44bb-a534-81757c03a373" providerId="ADAL" clId="{AA641570-5FC1-4844-BBD4-60A0B1E6581C}" dt="2026-01-29T14:45:31.840" v="85" actId="14100"/>
          <ac:spMkLst>
            <pc:docMk/>
            <pc:sldMk cId="2214532210" sldId="2147474651"/>
            <ac:spMk id="73" creationId="{8E80E876-EFCE-3325-7351-3C5CE1FF9054}"/>
          </ac:spMkLst>
        </pc:spChg>
        <pc:spChg chg="mod">
          <ac:chgData name="Susana Jesus" userId="a4903a7d-807e-44bb-a534-81757c03a373" providerId="ADAL" clId="{AA641570-5FC1-4844-BBD4-60A0B1E6581C}" dt="2026-01-29T14:45:21.678" v="84" actId="14100"/>
          <ac:spMkLst>
            <pc:docMk/>
            <pc:sldMk cId="2214532210" sldId="2147474651"/>
            <ac:spMk id="75" creationId="{BD877A1F-613C-C2FE-B423-7F70E5488D0C}"/>
          </ac:spMkLst>
        </pc:spChg>
        <pc:spChg chg="mod">
          <ac:chgData name="Susana Jesus" userId="a4903a7d-807e-44bb-a534-81757c03a373" providerId="ADAL" clId="{AA641570-5FC1-4844-BBD4-60A0B1E6581C}" dt="2026-01-29T14:45:17.731" v="83" actId="14100"/>
          <ac:spMkLst>
            <pc:docMk/>
            <pc:sldMk cId="2214532210" sldId="2147474651"/>
            <ac:spMk id="77" creationId="{8EF934E6-3209-AB8B-D801-208D63D8F447}"/>
          </ac:spMkLst>
        </pc:spChg>
        <pc:cxnChg chg="mod">
          <ac:chgData name="Susana Jesus" userId="a4903a7d-807e-44bb-a534-81757c03a373" providerId="ADAL" clId="{AA641570-5FC1-4844-BBD4-60A0B1E6581C}" dt="2026-01-29T14:44:15.538" v="64" actId="14100"/>
          <ac:cxnSpMkLst>
            <pc:docMk/>
            <pc:sldMk cId="2214532210" sldId="2147474651"/>
            <ac:cxnSpMk id="20" creationId="{800DA95B-FAA1-7E9E-6D13-EC9E6BD6DD22}"/>
          </ac:cxnSpMkLst>
        </pc:cxnChg>
        <pc:cxnChg chg="mod">
          <ac:chgData name="Susana Jesus" userId="a4903a7d-807e-44bb-a534-81757c03a373" providerId="ADAL" clId="{AA641570-5FC1-4844-BBD4-60A0B1E6581C}" dt="2026-01-29T14:44:22.305" v="65" actId="14100"/>
          <ac:cxnSpMkLst>
            <pc:docMk/>
            <pc:sldMk cId="2214532210" sldId="2147474651"/>
            <ac:cxnSpMk id="23" creationId="{EF2FA601-AE70-72A4-DE12-E89FC090C7DB}"/>
          </ac:cxnSpMkLst>
        </pc:cxnChg>
        <pc:cxnChg chg="mod">
          <ac:chgData name="Susana Jesus" userId="a4903a7d-807e-44bb-a534-81757c03a373" providerId="ADAL" clId="{AA641570-5FC1-4844-BBD4-60A0B1E6581C}" dt="2026-01-29T14:45:10.408" v="80" actId="1076"/>
          <ac:cxnSpMkLst>
            <pc:docMk/>
            <pc:sldMk cId="2214532210" sldId="2147474651"/>
            <ac:cxnSpMk id="26" creationId="{99526C65-ACA3-40CD-B97F-E30F66781F85}"/>
          </ac:cxnSpMkLst>
        </pc:cxnChg>
        <pc:cxnChg chg="mod">
          <ac:chgData name="Susana Jesus" userId="a4903a7d-807e-44bb-a534-81757c03a373" providerId="ADAL" clId="{AA641570-5FC1-4844-BBD4-60A0B1E6581C}" dt="2026-01-29T14:47:54.415" v="103" actId="14100"/>
          <ac:cxnSpMkLst>
            <pc:docMk/>
            <pc:sldMk cId="2214532210" sldId="2147474651"/>
            <ac:cxnSpMk id="31" creationId="{33163BE7-F79E-B4DF-5734-8B18F518BF5C}"/>
          </ac:cxnSpMkLst>
        </pc:cxnChg>
        <pc:cxnChg chg="mod">
          <ac:chgData name="Susana Jesus" userId="a4903a7d-807e-44bb-a534-81757c03a373" providerId="ADAL" clId="{AA641570-5FC1-4844-BBD4-60A0B1E6581C}" dt="2026-01-29T14:44:01.440" v="62" actId="14100"/>
          <ac:cxnSpMkLst>
            <pc:docMk/>
            <pc:sldMk cId="2214532210" sldId="2147474651"/>
            <ac:cxnSpMk id="41" creationId="{FE45CFEC-6C4D-DC68-8178-16AF44A226DB}"/>
          </ac:cxnSpMkLst>
        </pc:cxnChg>
        <pc:cxnChg chg="mod">
          <ac:chgData name="Susana Jesus" userId="a4903a7d-807e-44bb-a534-81757c03a373" providerId="ADAL" clId="{AA641570-5FC1-4844-BBD4-60A0B1E6581C}" dt="2026-01-29T14:44:07.901" v="63" actId="14100"/>
          <ac:cxnSpMkLst>
            <pc:docMk/>
            <pc:sldMk cId="2214532210" sldId="2147474651"/>
            <ac:cxnSpMk id="46" creationId="{FEFA5BFC-0DB4-D39C-001B-3E056E9047F6}"/>
          </ac:cxnSpMkLst>
        </pc:cxnChg>
        <pc:cxnChg chg="mod">
          <ac:chgData name="Susana Jesus" userId="a4903a7d-807e-44bb-a534-81757c03a373" providerId="ADAL" clId="{AA641570-5FC1-4844-BBD4-60A0B1E6581C}" dt="2026-01-29T14:44:37.641" v="68" actId="14100"/>
          <ac:cxnSpMkLst>
            <pc:docMk/>
            <pc:sldMk cId="2214532210" sldId="2147474651"/>
            <ac:cxnSpMk id="55" creationId="{C9AC49D3-C80A-3D20-7875-A60745C877CE}"/>
          </ac:cxnSpMkLst>
        </pc:cxnChg>
        <pc:cxnChg chg="mod">
          <ac:chgData name="Susana Jesus" userId="a4903a7d-807e-44bb-a534-81757c03a373" providerId="ADAL" clId="{AA641570-5FC1-4844-BBD4-60A0B1E6581C}" dt="2026-01-29T14:44:43.522" v="70" actId="14100"/>
          <ac:cxnSpMkLst>
            <pc:docMk/>
            <pc:sldMk cId="2214532210" sldId="2147474651"/>
            <ac:cxnSpMk id="62" creationId="{15DAD289-09B7-9B76-960D-8616323DE3E7}"/>
          </ac:cxnSpMkLst>
        </pc:cxnChg>
        <pc:cxnChg chg="mod">
          <ac:chgData name="Susana Jesus" userId="a4903a7d-807e-44bb-a534-81757c03a373" providerId="ADAL" clId="{AA641570-5FC1-4844-BBD4-60A0B1E6581C}" dt="2026-01-29T14:45:12.227" v="82" actId="14100"/>
          <ac:cxnSpMkLst>
            <pc:docMk/>
            <pc:sldMk cId="2214532210" sldId="2147474651"/>
            <ac:cxnSpMk id="102" creationId="{79FF6A1C-8780-49A8-E387-FC74D23360AB}"/>
          </ac:cxnSpMkLst>
        </pc:cxnChg>
      </pc:sldChg>
      <pc:sldChg chg="modSp mod">
        <pc:chgData name="Susana Jesus" userId="a4903a7d-807e-44bb-a534-81757c03a373" providerId="ADAL" clId="{AA641570-5FC1-4844-BBD4-60A0B1E6581C}" dt="2026-01-29T14:51:36.203" v="129" actId="1076"/>
        <pc:sldMkLst>
          <pc:docMk/>
          <pc:sldMk cId="367105714" sldId="2147481304"/>
        </pc:sldMkLst>
        <pc:spChg chg="mod">
          <ac:chgData name="Susana Jesus" userId="a4903a7d-807e-44bb-a534-81757c03a373" providerId="ADAL" clId="{AA641570-5FC1-4844-BBD4-60A0B1E6581C}" dt="2026-01-29T14:51:26.370" v="126" actId="14100"/>
          <ac:spMkLst>
            <pc:docMk/>
            <pc:sldMk cId="367105714" sldId="2147481304"/>
            <ac:spMk id="12" creationId="{46A7A63D-9457-B093-5B80-8D16A2C1A80C}"/>
          </ac:spMkLst>
        </pc:spChg>
        <pc:spChg chg="mod">
          <ac:chgData name="Susana Jesus" userId="a4903a7d-807e-44bb-a534-81757c03a373" providerId="ADAL" clId="{AA641570-5FC1-4844-BBD4-60A0B1E6581C}" dt="2026-01-29T14:51:29.581" v="127" actId="14100"/>
          <ac:spMkLst>
            <pc:docMk/>
            <pc:sldMk cId="367105714" sldId="2147481304"/>
            <ac:spMk id="38" creationId="{CBEB5549-7585-9BF1-1D21-971E5BF69BD3}"/>
          </ac:spMkLst>
        </pc:spChg>
        <pc:spChg chg="mod">
          <ac:chgData name="Susana Jesus" userId="a4903a7d-807e-44bb-a534-81757c03a373" providerId="ADAL" clId="{AA641570-5FC1-4844-BBD4-60A0B1E6581C}" dt="2026-01-29T14:51:06.925" v="123" actId="14100"/>
          <ac:spMkLst>
            <pc:docMk/>
            <pc:sldMk cId="367105714" sldId="2147481304"/>
            <ac:spMk id="75" creationId="{60172B11-AFF3-99BB-07B7-670E8F6BAAB9}"/>
          </ac:spMkLst>
        </pc:spChg>
        <pc:cxnChg chg="mod">
          <ac:chgData name="Susana Jesus" userId="a4903a7d-807e-44bb-a534-81757c03a373" providerId="ADAL" clId="{AA641570-5FC1-4844-BBD4-60A0B1E6581C}" dt="2026-01-29T14:51:36.203" v="129" actId="1076"/>
          <ac:cxnSpMkLst>
            <pc:docMk/>
            <pc:sldMk cId="367105714" sldId="2147481304"/>
            <ac:cxnSpMk id="39" creationId="{78889065-29D1-8F90-9ADE-6F9E7837E5B4}"/>
          </ac:cxnSpMkLst>
        </pc:cxnChg>
        <pc:cxnChg chg="mod">
          <ac:chgData name="Susana Jesus" userId="a4903a7d-807e-44bb-a534-81757c03a373" providerId="ADAL" clId="{AA641570-5FC1-4844-BBD4-60A0B1E6581C}" dt="2026-01-29T14:51:20.599" v="125" actId="1076"/>
          <ac:cxnSpMkLst>
            <pc:docMk/>
            <pc:sldMk cId="367105714" sldId="2147481304"/>
            <ac:cxnSpMk id="40" creationId="{DA9B5EB6-B75E-5FEC-C5D2-7054C4A2EF44}"/>
          </ac:cxnSpMkLst>
        </pc:cxnChg>
        <pc:cxnChg chg="mod">
          <ac:chgData name="Susana Jesus" userId="a4903a7d-807e-44bb-a534-81757c03a373" providerId="ADAL" clId="{AA641570-5FC1-4844-BBD4-60A0B1E6581C}" dt="2026-01-29T14:51:13.624" v="124" actId="14100"/>
          <ac:cxnSpMkLst>
            <pc:docMk/>
            <pc:sldMk cId="367105714" sldId="2147481304"/>
            <ac:cxnSpMk id="109" creationId="{529321CB-3437-75AB-F04B-9DF8563BBDD4}"/>
          </ac:cxnSpMkLst>
        </pc:cxnChg>
      </pc:sldChg>
      <pc:sldChg chg="modSp mod">
        <pc:chgData name="Susana Jesus" userId="a4903a7d-807e-44bb-a534-81757c03a373" providerId="ADAL" clId="{AA641570-5FC1-4844-BBD4-60A0B1E6581C}" dt="2026-01-29T14:53:20.223" v="145" actId="1076"/>
        <pc:sldMkLst>
          <pc:docMk/>
          <pc:sldMk cId="4194780462" sldId="2147481887"/>
        </pc:sldMkLst>
        <pc:spChg chg="mod">
          <ac:chgData name="Susana Jesus" userId="a4903a7d-807e-44bb-a534-81757c03a373" providerId="ADAL" clId="{AA641570-5FC1-4844-BBD4-60A0B1E6581C}" dt="2026-01-29T14:53:20.223" v="145" actId="1076"/>
          <ac:spMkLst>
            <pc:docMk/>
            <pc:sldMk cId="4194780462" sldId="2147481887"/>
            <ac:spMk id="101" creationId="{F1FC7644-4003-DF5D-266E-245C061B4FCE}"/>
          </ac:spMkLst>
        </pc:spChg>
      </pc:sldChg>
      <pc:sldChg chg="modSp mod">
        <pc:chgData name="Susana Jesus" userId="a4903a7d-807e-44bb-a534-81757c03a373" providerId="ADAL" clId="{AA641570-5FC1-4844-BBD4-60A0B1E6581C}" dt="2026-01-29T14:50:56.381" v="122" actId="14100"/>
        <pc:sldMkLst>
          <pc:docMk/>
          <pc:sldMk cId="895044080" sldId="2147481891"/>
        </pc:sldMkLst>
        <pc:spChg chg="mod">
          <ac:chgData name="Susana Jesus" userId="a4903a7d-807e-44bb-a534-81757c03a373" providerId="ADAL" clId="{AA641570-5FC1-4844-BBD4-60A0B1E6581C}" dt="2026-01-29T14:50:56.381" v="122" actId="14100"/>
          <ac:spMkLst>
            <pc:docMk/>
            <pc:sldMk cId="895044080" sldId="2147481891"/>
            <ac:spMk id="3" creationId="{8B026C1B-7CAD-A9FE-B724-605DECABAEB8}"/>
          </ac:spMkLst>
        </pc:spChg>
      </pc:sldChg>
      <pc:sldChg chg="modSp mod">
        <pc:chgData name="Susana Jesus" userId="a4903a7d-807e-44bb-a534-81757c03a373" providerId="ADAL" clId="{AA641570-5FC1-4844-BBD4-60A0B1E6581C}" dt="2026-02-19T13:45:16.477" v="223" actId="20577"/>
        <pc:sldMkLst>
          <pc:docMk/>
          <pc:sldMk cId="437465648" sldId="2147481894"/>
        </pc:sldMkLst>
        <pc:spChg chg="mod">
          <ac:chgData name="Susana Jesus" userId="a4903a7d-807e-44bb-a534-81757c03a373" providerId="ADAL" clId="{AA641570-5FC1-4844-BBD4-60A0B1E6581C}" dt="2026-02-19T13:45:16.477" v="223" actId="20577"/>
          <ac:spMkLst>
            <pc:docMk/>
            <pc:sldMk cId="437465648" sldId="2147481894"/>
            <ac:spMk id="2" creationId="{890F0854-8200-5D3F-C97E-31FD1C480B76}"/>
          </ac:spMkLst>
        </pc:spChg>
      </pc:sldChg>
      <pc:sldChg chg="modSp mod">
        <pc:chgData name="Susana Jesus" userId="a4903a7d-807e-44bb-a534-81757c03a373" providerId="ADAL" clId="{AA641570-5FC1-4844-BBD4-60A0B1E6581C}" dt="2026-01-29T14:38:35.841" v="7" actId="1076"/>
        <pc:sldMkLst>
          <pc:docMk/>
          <pc:sldMk cId="3207816308" sldId="2147481903"/>
        </pc:sldMkLst>
        <pc:spChg chg="mod">
          <ac:chgData name="Susana Jesus" userId="a4903a7d-807e-44bb-a534-81757c03a373" providerId="ADAL" clId="{AA641570-5FC1-4844-BBD4-60A0B1E6581C}" dt="2026-01-29T14:38:25.596" v="6" actId="1076"/>
          <ac:spMkLst>
            <pc:docMk/>
            <pc:sldMk cId="3207816308" sldId="2147481903"/>
            <ac:spMk id="3" creationId="{F00F6711-04D9-FD90-2CB2-CA699A153305}"/>
          </ac:spMkLst>
        </pc:spChg>
        <pc:spChg chg="mod">
          <ac:chgData name="Susana Jesus" userId="a4903a7d-807e-44bb-a534-81757c03a373" providerId="ADAL" clId="{AA641570-5FC1-4844-BBD4-60A0B1E6581C}" dt="2026-01-29T14:38:35.841" v="7" actId="1076"/>
          <ac:spMkLst>
            <pc:docMk/>
            <pc:sldMk cId="3207816308" sldId="2147481903"/>
            <ac:spMk id="20" creationId="{7F4BEA95-01B9-7F28-BD11-7A3D20F862E5}"/>
          </ac:spMkLst>
        </pc:spChg>
        <pc:picChg chg="mod">
          <ac:chgData name="Susana Jesus" userId="a4903a7d-807e-44bb-a534-81757c03a373" providerId="ADAL" clId="{AA641570-5FC1-4844-BBD4-60A0B1E6581C}" dt="2026-01-29T14:38:16.044" v="5" actId="1076"/>
          <ac:picMkLst>
            <pc:docMk/>
            <pc:sldMk cId="3207816308" sldId="2147481903"/>
            <ac:picMk id="7" creationId="{6762C48B-DF34-3C14-C4F4-3BF8FA631DBF}"/>
          </ac:picMkLst>
        </pc:picChg>
      </pc:sldChg>
      <pc:sldChg chg="modSp mod">
        <pc:chgData name="Susana Jesus" userId="a4903a7d-807e-44bb-a534-81757c03a373" providerId="ADAL" clId="{AA641570-5FC1-4844-BBD4-60A0B1E6581C}" dt="2026-02-19T13:44:33.637" v="212" actId="20577"/>
        <pc:sldMkLst>
          <pc:docMk/>
          <pc:sldMk cId="3912125996" sldId="2147481915"/>
        </pc:sldMkLst>
        <pc:spChg chg="mod">
          <ac:chgData name="Susana Jesus" userId="a4903a7d-807e-44bb-a534-81757c03a373" providerId="ADAL" clId="{AA641570-5FC1-4844-BBD4-60A0B1E6581C}" dt="2026-02-19T13:44:33.637" v="212" actId="20577"/>
          <ac:spMkLst>
            <pc:docMk/>
            <pc:sldMk cId="3912125996" sldId="2147481915"/>
            <ac:spMk id="2" creationId="{890F0854-8200-5D3F-C97E-31FD1C480B76}"/>
          </ac:spMkLst>
        </pc:spChg>
      </pc:sldChg>
      <pc:sldChg chg="addSp modSp mod">
        <pc:chgData name="Susana Jesus" userId="a4903a7d-807e-44bb-a534-81757c03a373" providerId="ADAL" clId="{AA641570-5FC1-4844-BBD4-60A0B1E6581C}" dt="2026-01-29T14:59:40.039" v="197" actId="20577"/>
        <pc:sldMkLst>
          <pc:docMk/>
          <pc:sldMk cId="1772000882" sldId="2147481916"/>
        </pc:sldMkLst>
        <pc:spChg chg="mod">
          <ac:chgData name="Susana Jesus" userId="a4903a7d-807e-44bb-a534-81757c03a373" providerId="ADAL" clId="{AA641570-5FC1-4844-BBD4-60A0B1E6581C}" dt="2026-01-29T14:56:13.391" v="165" actId="27636"/>
          <ac:spMkLst>
            <pc:docMk/>
            <pc:sldMk cId="1772000882" sldId="2147481916"/>
            <ac:spMk id="3" creationId="{8E00106A-89B5-6B14-1B8D-203FD22E43A3}"/>
          </ac:spMkLst>
        </pc:spChg>
        <pc:spChg chg="mod">
          <ac:chgData name="Susana Jesus" userId="a4903a7d-807e-44bb-a534-81757c03a373" providerId="ADAL" clId="{AA641570-5FC1-4844-BBD4-60A0B1E6581C}" dt="2026-01-29T14:57:39.569" v="188" actId="1076"/>
          <ac:spMkLst>
            <pc:docMk/>
            <pc:sldMk cId="1772000882" sldId="2147481916"/>
            <ac:spMk id="6" creationId="{F2B248E5-E0D3-6A98-971A-0C4C0FB0D245}"/>
          </ac:spMkLst>
        </pc:spChg>
        <pc:spChg chg="mod">
          <ac:chgData name="Susana Jesus" userId="a4903a7d-807e-44bb-a534-81757c03a373" providerId="ADAL" clId="{AA641570-5FC1-4844-BBD4-60A0B1E6581C}" dt="2026-01-29T14:57:46.443" v="190" actId="14100"/>
          <ac:spMkLst>
            <pc:docMk/>
            <pc:sldMk cId="1772000882" sldId="2147481916"/>
            <ac:spMk id="7" creationId="{C4B69527-06C8-E0B8-4B1D-D617CDBBF2B2}"/>
          </ac:spMkLst>
        </pc:spChg>
        <pc:spChg chg="mod">
          <ac:chgData name="Susana Jesus" userId="a4903a7d-807e-44bb-a534-81757c03a373" providerId="ADAL" clId="{AA641570-5FC1-4844-BBD4-60A0B1E6581C}" dt="2026-01-29T14:59:40.039" v="197" actId="20577"/>
          <ac:spMkLst>
            <pc:docMk/>
            <pc:sldMk cId="1772000882" sldId="2147481916"/>
            <ac:spMk id="8" creationId="{66C6E305-3CFE-7D71-9574-6AB5B0348E6C}"/>
          </ac:spMkLst>
        </pc:spChg>
        <pc:spChg chg="mod">
          <ac:chgData name="Susana Jesus" userId="a4903a7d-807e-44bb-a534-81757c03a373" providerId="ADAL" clId="{AA641570-5FC1-4844-BBD4-60A0B1E6581C}" dt="2026-01-29T14:57:34.601" v="187" actId="1076"/>
          <ac:spMkLst>
            <pc:docMk/>
            <pc:sldMk cId="1772000882" sldId="2147481916"/>
            <ac:spMk id="9" creationId="{A4F59901-123D-AD60-AA73-68A8485DE59C}"/>
          </ac:spMkLst>
        </pc:spChg>
      </pc:sldChg>
      <pc:sldChg chg="modSp mod">
        <pc:chgData name="Susana Jesus" userId="a4903a7d-807e-44bb-a534-81757c03a373" providerId="ADAL" clId="{AA641570-5FC1-4844-BBD4-60A0B1E6581C}" dt="2026-02-19T13:45:09.356" v="221" actId="20577"/>
        <pc:sldMkLst>
          <pc:docMk/>
          <pc:sldMk cId="1038617174" sldId="2147481918"/>
        </pc:sldMkLst>
        <pc:spChg chg="mod">
          <ac:chgData name="Susana Jesus" userId="a4903a7d-807e-44bb-a534-81757c03a373" providerId="ADAL" clId="{AA641570-5FC1-4844-BBD4-60A0B1E6581C}" dt="2026-02-19T13:45:09.356" v="221" actId="20577"/>
          <ac:spMkLst>
            <pc:docMk/>
            <pc:sldMk cId="1038617174" sldId="2147481918"/>
            <ac:spMk id="2" creationId="{890F0854-8200-5D3F-C97E-31FD1C480B76}"/>
          </ac:spMkLst>
        </pc:spChg>
      </pc:sldChg>
      <pc:sldChg chg="modSp mod">
        <pc:chgData name="Susana Jesus" userId="a4903a7d-807e-44bb-a534-81757c03a373" providerId="ADAL" clId="{AA641570-5FC1-4844-BBD4-60A0B1E6581C}" dt="2026-02-19T13:45:00.736" v="216" actId="20577"/>
        <pc:sldMkLst>
          <pc:docMk/>
          <pc:sldMk cId="1626642359" sldId="2147481921"/>
        </pc:sldMkLst>
        <pc:spChg chg="mod">
          <ac:chgData name="Susana Jesus" userId="a4903a7d-807e-44bb-a534-81757c03a373" providerId="ADAL" clId="{AA641570-5FC1-4844-BBD4-60A0B1E6581C}" dt="2026-02-19T13:45:00.736" v="216" actId="20577"/>
          <ac:spMkLst>
            <pc:docMk/>
            <pc:sldMk cId="1626642359" sldId="2147481921"/>
            <ac:spMk id="2" creationId="{890F0854-8200-5D3F-C97E-31FD1C480B76}"/>
          </ac:spMkLst>
        </pc:spChg>
      </pc:sldChg>
      <pc:sldChg chg="addSp delSp modSp mod">
        <pc:chgData name="Susana Jesus" userId="a4903a7d-807e-44bb-a534-81757c03a373" providerId="ADAL" clId="{AA641570-5FC1-4844-BBD4-60A0B1E6581C}" dt="2026-02-19T13:43:42.188" v="208" actId="1076"/>
        <pc:sldMkLst>
          <pc:docMk/>
          <pc:sldMk cId="19406942" sldId="2147482921"/>
        </pc:sldMkLst>
        <pc:spChg chg="del mod">
          <ac:chgData name="Susana Jesus" userId="a4903a7d-807e-44bb-a534-81757c03a373" providerId="ADAL" clId="{AA641570-5FC1-4844-BBD4-60A0B1E6581C}" dt="2026-02-19T11:58:01.410" v="198" actId="478"/>
          <ac:spMkLst>
            <pc:docMk/>
            <pc:sldMk cId="19406942" sldId="2147482921"/>
            <ac:spMk id="8" creationId="{630BC714-825A-BBF5-B818-490C3755B5F2}"/>
          </ac:spMkLst>
        </pc:spChg>
        <pc:spChg chg="mod">
          <ac:chgData name="Susana Jesus" userId="a4903a7d-807e-44bb-a534-81757c03a373" providerId="ADAL" clId="{AA641570-5FC1-4844-BBD4-60A0B1E6581C}" dt="2026-02-19T11:58:07.306" v="200" actId="1076"/>
          <ac:spMkLst>
            <pc:docMk/>
            <pc:sldMk cId="19406942" sldId="2147482921"/>
            <ac:spMk id="15" creationId="{D77A2010-3C53-4BF4-E468-358A718ABEE0}"/>
          </ac:spMkLst>
        </pc:spChg>
        <pc:spChg chg="mod">
          <ac:chgData name="Susana Jesus" userId="a4903a7d-807e-44bb-a534-81757c03a373" providerId="ADAL" clId="{AA641570-5FC1-4844-BBD4-60A0B1E6581C}" dt="2026-02-19T11:58:10.543" v="201" actId="1076"/>
          <ac:spMkLst>
            <pc:docMk/>
            <pc:sldMk cId="19406942" sldId="2147482921"/>
            <ac:spMk id="16" creationId="{E720AA66-6B52-0DCD-0E3F-2F9F4C12F326}"/>
          </ac:spMkLst>
        </pc:spChg>
        <pc:spChg chg="mod">
          <ac:chgData name="Susana Jesus" userId="a4903a7d-807e-44bb-a534-81757c03a373" providerId="ADAL" clId="{AA641570-5FC1-4844-BBD4-60A0B1E6581C}" dt="2026-02-19T13:43:42.188" v="208" actId="1076"/>
          <ac:spMkLst>
            <pc:docMk/>
            <pc:sldMk cId="19406942" sldId="2147482921"/>
            <ac:spMk id="17" creationId="{0CD9E316-F913-645C-4E01-97214ECF1E17}"/>
          </ac:spMkLst>
        </pc:spChg>
        <pc:spChg chg="mod">
          <ac:chgData name="Susana Jesus" userId="a4903a7d-807e-44bb-a534-81757c03a373" providerId="ADAL" clId="{AA641570-5FC1-4844-BBD4-60A0B1E6581C}" dt="2026-02-19T11:58:20.173" v="203" actId="1076"/>
          <ac:spMkLst>
            <pc:docMk/>
            <pc:sldMk cId="19406942" sldId="2147482921"/>
            <ac:spMk id="18" creationId="{DA5A0CA2-7CD4-53BC-9572-71664BAC72E0}"/>
          </ac:spMkLst>
        </pc:spChg>
        <pc:spChg chg="mod">
          <ac:chgData name="Susana Jesus" userId="a4903a7d-807e-44bb-a534-81757c03a373" providerId="ADAL" clId="{AA641570-5FC1-4844-BBD4-60A0B1E6581C}" dt="2026-02-19T11:58:22.986" v="204" actId="1076"/>
          <ac:spMkLst>
            <pc:docMk/>
            <pc:sldMk cId="19406942" sldId="2147482921"/>
            <ac:spMk id="19" creationId="{EA5932F4-F9F4-6A20-E706-D1584F2B527C}"/>
          </ac:spMkLst>
        </pc:spChg>
        <pc:spChg chg="del">
          <ac:chgData name="Susana Jesus" userId="a4903a7d-807e-44bb-a534-81757c03a373" providerId="ADAL" clId="{AA641570-5FC1-4844-BBD4-60A0B1E6581C}" dt="2026-02-19T11:58:24.210" v="205" actId="478"/>
          <ac:spMkLst>
            <pc:docMk/>
            <pc:sldMk cId="19406942" sldId="2147482921"/>
            <ac:spMk id="25" creationId="{FDFF7A7A-BBEE-499E-903F-2B1C03AAB839}"/>
          </ac:spMkLst>
        </pc:spChg>
        <pc:spChg chg="add del mod">
          <ac:chgData name="Susana Jesus" userId="a4903a7d-807e-44bb-a534-81757c03a373" providerId="ADAL" clId="{AA641570-5FC1-4844-BBD4-60A0B1E6581C}" dt="2026-02-19T11:58:04.006" v="199" actId="478"/>
          <ac:spMkLst>
            <pc:docMk/>
            <pc:sldMk cId="19406942" sldId="2147482921"/>
            <ac:spMk id="26" creationId="{92F6DB94-48D8-0A77-9675-90D635E660B0}"/>
          </ac:spMkLst>
        </pc:spChg>
        <pc:spChg chg="add del mod">
          <ac:chgData name="Susana Jesus" userId="a4903a7d-807e-44bb-a534-81757c03a373" providerId="ADAL" clId="{AA641570-5FC1-4844-BBD4-60A0B1E6581C}" dt="2026-02-19T11:58:26.340" v="206" actId="478"/>
          <ac:spMkLst>
            <pc:docMk/>
            <pc:sldMk cId="19406942" sldId="2147482921"/>
            <ac:spMk id="30" creationId="{CF5EC19D-0739-237D-08FE-0BBA638CFB55}"/>
          </ac:spMkLst>
        </pc:spChg>
      </pc:sldChg>
      <pc:sldChg chg="modSp mod">
        <pc:chgData name="Susana Jesus" userId="a4903a7d-807e-44bb-a534-81757c03a373" providerId="ADAL" clId="{AA641570-5FC1-4844-BBD4-60A0B1E6581C}" dt="2026-01-29T14:54:19.968" v="151" actId="14100"/>
        <pc:sldMkLst>
          <pc:docMk/>
          <pc:sldMk cId="2887337928" sldId="2147482928"/>
        </pc:sldMkLst>
        <pc:spChg chg="mod">
          <ac:chgData name="Susana Jesus" userId="a4903a7d-807e-44bb-a534-81757c03a373" providerId="ADAL" clId="{AA641570-5FC1-4844-BBD4-60A0B1E6581C}" dt="2026-01-29T14:54:12.729" v="150" actId="1076"/>
          <ac:spMkLst>
            <pc:docMk/>
            <pc:sldMk cId="2887337928" sldId="2147482928"/>
            <ac:spMk id="4" creationId="{1566C407-6B3B-2EFF-20D6-4C8587E797C5}"/>
          </ac:spMkLst>
        </pc:spChg>
        <pc:spChg chg="mod">
          <ac:chgData name="Susana Jesus" userId="a4903a7d-807e-44bb-a534-81757c03a373" providerId="ADAL" clId="{AA641570-5FC1-4844-BBD4-60A0B1E6581C}" dt="2026-01-29T14:54:19.968" v="151" actId="14100"/>
          <ac:spMkLst>
            <pc:docMk/>
            <pc:sldMk cId="2887337928" sldId="2147482928"/>
            <ac:spMk id="6" creationId="{46582446-6BFB-B63B-5143-EBC668B3FD93}"/>
          </ac:spMkLst>
        </pc:spChg>
        <pc:spChg chg="mod">
          <ac:chgData name="Susana Jesus" userId="a4903a7d-807e-44bb-a534-81757c03a373" providerId="ADAL" clId="{AA641570-5FC1-4844-BBD4-60A0B1E6581C}" dt="2026-01-29T14:53:56.197" v="148" actId="1076"/>
          <ac:spMkLst>
            <pc:docMk/>
            <pc:sldMk cId="2887337928" sldId="2147482928"/>
            <ac:spMk id="9" creationId="{7D3379C8-B2F4-9DC0-CE18-07A8E45D9919}"/>
          </ac:spMkLst>
        </pc:spChg>
        <pc:picChg chg="mod">
          <ac:chgData name="Susana Jesus" userId="a4903a7d-807e-44bb-a534-81757c03a373" providerId="ADAL" clId="{AA641570-5FC1-4844-BBD4-60A0B1E6581C}" dt="2026-01-29T14:53:52.716" v="147" actId="14100"/>
          <ac:picMkLst>
            <pc:docMk/>
            <pc:sldMk cId="2887337928" sldId="2147482928"/>
            <ac:picMk id="8" creationId="{F959C39D-0813-83EB-DB71-FD355411AD6E}"/>
          </ac:picMkLst>
        </pc:picChg>
      </pc:sldChg>
      <pc:sldChg chg="modSp mod">
        <pc:chgData name="Susana Jesus" userId="a4903a7d-807e-44bb-a534-81757c03a373" providerId="ADAL" clId="{AA641570-5FC1-4844-BBD4-60A0B1E6581C}" dt="2026-01-29T14:56:13.416" v="166" actId="27636"/>
        <pc:sldMkLst>
          <pc:docMk/>
          <pc:sldMk cId="3811488354" sldId="2147482929"/>
        </pc:sldMkLst>
        <pc:spChg chg="mod">
          <ac:chgData name="Susana Jesus" userId="a4903a7d-807e-44bb-a534-81757c03a373" providerId="ADAL" clId="{AA641570-5FC1-4844-BBD4-60A0B1E6581C}" dt="2026-01-29T14:56:13.416" v="166" actId="27636"/>
          <ac:spMkLst>
            <pc:docMk/>
            <pc:sldMk cId="3811488354" sldId="2147482929"/>
            <ac:spMk id="3" creationId="{126917F8-B97D-6391-E0DA-06663538E17A}"/>
          </ac:spMkLst>
        </pc:spChg>
      </pc:sldChg>
      <pc:sldChg chg="modSp mod">
        <pc:chgData name="Susana Jesus" userId="a4903a7d-807e-44bb-a534-81757c03a373" providerId="ADAL" clId="{AA641570-5FC1-4844-BBD4-60A0B1E6581C}" dt="2026-01-29T14:43:34.915" v="60" actId="14100"/>
        <pc:sldMkLst>
          <pc:docMk/>
          <pc:sldMk cId="1136489294" sldId="2147482935"/>
        </pc:sldMkLst>
        <pc:spChg chg="mod">
          <ac:chgData name="Susana Jesus" userId="a4903a7d-807e-44bb-a534-81757c03a373" providerId="ADAL" clId="{AA641570-5FC1-4844-BBD4-60A0B1E6581C}" dt="2026-01-29T14:42:05.037" v="47" actId="1076"/>
          <ac:spMkLst>
            <pc:docMk/>
            <pc:sldMk cId="1136489294" sldId="2147482935"/>
            <ac:spMk id="10" creationId="{2BFDA597-5C18-B1C7-7558-9B28485BC0D5}"/>
          </ac:spMkLst>
        </pc:spChg>
        <pc:spChg chg="mod">
          <ac:chgData name="Susana Jesus" userId="a4903a7d-807e-44bb-a534-81757c03a373" providerId="ADAL" clId="{AA641570-5FC1-4844-BBD4-60A0B1E6581C}" dt="2026-01-29T14:43:34.915" v="60" actId="14100"/>
          <ac:spMkLst>
            <pc:docMk/>
            <pc:sldMk cId="1136489294" sldId="2147482935"/>
            <ac:spMk id="13" creationId="{6C3377A9-50DE-4DBA-EEB8-60B316754C4A}"/>
          </ac:spMkLst>
        </pc:spChg>
        <pc:spChg chg="mod">
          <ac:chgData name="Susana Jesus" userId="a4903a7d-807e-44bb-a534-81757c03a373" providerId="ADAL" clId="{AA641570-5FC1-4844-BBD4-60A0B1E6581C}" dt="2026-01-29T14:42:15.685" v="48" actId="1076"/>
          <ac:spMkLst>
            <pc:docMk/>
            <pc:sldMk cId="1136489294" sldId="2147482935"/>
            <ac:spMk id="14" creationId="{14A05B23-ACCE-3C20-5A57-B647928AA1F3}"/>
          </ac:spMkLst>
        </pc:spChg>
        <pc:spChg chg="mod">
          <ac:chgData name="Susana Jesus" userId="a4903a7d-807e-44bb-a534-81757c03a373" providerId="ADAL" clId="{AA641570-5FC1-4844-BBD4-60A0B1E6581C}" dt="2026-01-29T14:42:35.364" v="55" actId="1076"/>
          <ac:spMkLst>
            <pc:docMk/>
            <pc:sldMk cId="1136489294" sldId="2147482935"/>
            <ac:spMk id="15" creationId="{484377F2-434E-6E79-977C-05708185A64B}"/>
          </ac:spMkLst>
        </pc:spChg>
        <pc:spChg chg="mod">
          <ac:chgData name="Susana Jesus" userId="a4903a7d-807e-44bb-a534-81757c03a373" providerId="ADAL" clId="{AA641570-5FC1-4844-BBD4-60A0B1E6581C}" dt="2026-01-29T14:41:45.156" v="43" actId="1038"/>
          <ac:spMkLst>
            <pc:docMk/>
            <pc:sldMk cId="1136489294" sldId="2147482935"/>
            <ac:spMk id="19" creationId="{93AFCDF6-3679-F105-743C-526CFF498160}"/>
          </ac:spMkLst>
        </pc:spChg>
        <pc:spChg chg="mod">
          <ac:chgData name="Susana Jesus" userId="a4903a7d-807e-44bb-a534-81757c03a373" providerId="ADAL" clId="{AA641570-5FC1-4844-BBD4-60A0B1E6581C}" dt="2026-01-29T14:41:45.156" v="43" actId="1038"/>
          <ac:spMkLst>
            <pc:docMk/>
            <pc:sldMk cId="1136489294" sldId="2147482935"/>
            <ac:spMk id="43" creationId="{779DC80B-3F0A-69F2-A2DE-02058F992AF0}"/>
          </ac:spMkLst>
        </pc:spChg>
        <pc:spChg chg="mod">
          <ac:chgData name="Susana Jesus" userId="a4903a7d-807e-44bb-a534-81757c03a373" providerId="ADAL" clId="{AA641570-5FC1-4844-BBD4-60A0B1E6581C}" dt="2026-01-29T14:41:45.156" v="43" actId="1038"/>
          <ac:spMkLst>
            <pc:docMk/>
            <pc:sldMk cId="1136489294" sldId="2147482935"/>
            <ac:spMk id="44" creationId="{43AE2088-9B14-5106-A99C-7BED6A10644A}"/>
          </ac:spMkLst>
        </pc:spChg>
        <pc:spChg chg="mod">
          <ac:chgData name="Susana Jesus" userId="a4903a7d-807e-44bb-a534-81757c03a373" providerId="ADAL" clId="{AA641570-5FC1-4844-BBD4-60A0B1E6581C}" dt="2026-01-29T14:41:50.955" v="44" actId="14100"/>
          <ac:spMkLst>
            <pc:docMk/>
            <pc:sldMk cId="1136489294" sldId="2147482935"/>
            <ac:spMk id="50" creationId="{76609425-9B7F-7105-88F3-0E68E45A65A0}"/>
          </ac:spMkLst>
        </pc:spChg>
        <pc:picChg chg="mod">
          <ac:chgData name="Susana Jesus" userId="a4903a7d-807e-44bb-a534-81757c03a373" providerId="ADAL" clId="{AA641570-5FC1-4844-BBD4-60A0B1E6581C}" dt="2026-01-29T14:41:45.156" v="43" actId="1038"/>
          <ac:picMkLst>
            <pc:docMk/>
            <pc:sldMk cId="1136489294" sldId="2147482935"/>
            <ac:picMk id="4" creationId="{FC36CEC7-FDA6-D06C-A6AA-8815DA8B5D3D}"/>
          </ac:picMkLst>
        </pc:picChg>
        <pc:picChg chg="mod">
          <ac:chgData name="Susana Jesus" userId="a4903a7d-807e-44bb-a534-81757c03a373" providerId="ADAL" clId="{AA641570-5FC1-4844-BBD4-60A0B1E6581C}" dt="2026-01-29T14:41:45.156" v="43" actId="1038"/>
          <ac:picMkLst>
            <pc:docMk/>
            <pc:sldMk cId="1136489294" sldId="2147482935"/>
            <ac:picMk id="9" creationId="{2269CFC3-EEE1-7614-1AAF-8318D8C6D0DB}"/>
          </ac:picMkLst>
        </pc:picChg>
        <pc:picChg chg="mod">
          <ac:chgData name="Susana Jesus" userId="a4903a7d-807e-44bb-a534-81757c03a373" providerId="ADAL" clId="{AA641570-5FC1-4844-BBD4-60A0B1E6581C}" dt="2026-01-29T14:41:45.156" v="43" actId="1038"/>
          <ac:picMkLst>
            <pc:docMk/>
            <pc:sldMk cId="1136489294" sldId="2147482935"/>
            <ac:picMk id="18" creationId="{241AE0DA-2E15-6C1F-46B2-4C8D550A31AD}"/>
          </ac:picMkLst>
        </pc:picChg>
        <pc:picChg chg="mod">
          <ac:chgData name="Susana Jesus" userId="a4903a7d-807e-44bb-a534-81757c03a373" providerId="ADAL" clId="{AA641570-5FC1-4844-BBD4-60A0B1E6581C}" dt="2026-01-29T14:41:45.156" v="43" actId="1038"/>
          <ac:picMkLst>
            <pc:docMk/>
            <pc:sldMk cId="1136489294" sldId="2147482935"/>
            <ac:picMk id="22" creationId="{4228A929-BE71-663F-03C1-0145F2FE777B}"/>
          </ac:picMkLst>
        </pc:picChg>
        <pc:picChg chg="mod">
          <ac:chgData name="Susana Jesus" userId="a4903a7d-807e-44bb-a534-81757c03a373" providerId="ADAL" clId="{AA641570-5FC1-4844-BBD4-60A0B1E6581C}" dt="2026-01-29T14:41:45.156" v="43" actId="1038"/>
          <ac:picMkLst>
            <pc:docMk/>
            <pc:sldMk cId="1136489294" sldId="2147482935"/>
            <ac:picMk id="27" creationId="{C9615DEC-AC9E-4BBB-B51D-138D1AC96AF2}"/>
          </ac:picMkLst>
        </pc:picChg>
        <pc:picChg chg="mod ord">
          <ac:chgData name="Susana Jesus" userId="a4903a7d-807e-44bb-a534-81757c03a373" providerId="ADAL" clId="{AA641570-5FC1-4844-BBD4-60A0B1E6581C}" dt="2026-01-29T14:42:28.709" v="54" actId="171"/>
          <ac:picMkLst>
            <pc:docMk/>
            <pc:sldMk cId="1136489294" sldId="2147482935"/>
            <ac:picMk id="28" creationId="{46E244B8-CD2B-885C-FA3E-852E99F741CE}"/>
          </ac:picMkLst>
        </pc:picChg>
      </pc:sldChg>
      <pc:sldChg chg="modSp mod">
        <pc:chgData name="Susana Jesus" userId="a4903a7d-807e-44bb-a534-81757c03a373" providerId="ADAL" clId="{AA641570-5FC1-4844-BBD4-60A0B1E6581C}" dt="2026-02-19T13:44:53.672" v="214" actId="20577"/>
        <pc:sldMkLst>
          <pc:docMk/>
          <pc:sldMk cId="2124826900" sldId="2147482937"/>
        </pc:sldMkLst>
        <pc:spChg chg="mod">
          <ac:chgData name="Susana Jesus" userId="a4903a7d-807e-44bb-a534-81757c03a373" providerId="ADAL" clId="{AA641570-5FC1-4844-BBD4-60A0B1E6581C}" dt="2026-02-19T13:44:53.672" v="214" actId="20577"/>
          <ac:spMkLst>
            <pc:docMk/>
            <pc:sldMk cId="2124826900" sldId="2147482937"/>
            <ac:spMk id="2" creationId="{4A6E647D-1EAE-D6BC-482D-061242607B15}"/>
          </ac:spMkLst>
        </pc:spChg>
      </pc:sldChg>
      <pc:sldChg chg="modSp mod">
        <pc:chgData name="Susana Jesus" userId="a4903a7d-807e-44bb-a534-81757c03a373" providerId="ADAL" clId="{AA641570-5FC1-4844-BBD4-60A0B1E6581C}" dt="2026-01-29T14:40:52.035" v="23" actId="1076"/>
        <pc:sldMkLst>
          <pc:docMk/>
          <pc:sldMk cId="2482917762" sldId="2147483438"/>
        </pc:sldMkLst>
        <pc:spChg chg="mod">
          <ac:chgData name="Susana Jesus" userId="a4903a7d-807e-44bb-a534-81757c03a373" providerId="ADAL" clId="{AA641570-5FC1-4844-BBD4-60A0B1E6581C}" dt="2026-01-29T14:40:52.035" v="23" actId="1076"/>
          <ac:spMkLst>
            <pc:docMk/>
            <pc:sldMk cId="2482917762" sldId="2147483438"/>
            <ac:spMk id="3" creationId="{F4EBB5D0-771D-BA13-5788-5F8FEF2EF16B}"/>
          </ac:spMkLst>
        </pc:spChg>
        <pc:spChg chg="mod">
          <ac:chgData name="Susana Jesus" userId="a4903a7d-807e-44bb-a534-81757c03a373" providerId="ADAL" clId="{AA641570-5FC1-4844-BBD4-60A0B1E6581C}" dt="2026-01-29T14:40:47.085" v="22" actId="1076"/>
          <ac:spMkLst>
            <pc:docMk/>
            <pc:sldMk cId="2482917762" sldId="2147483438"/>
            <ac:spMk id="6" creationId="{62686E27-0D40-C5FA-77B2-30929EE455E8}"/>
          </ac:spMkLst>
        </pc:spChg>
        <pc:spChg chg="mod">
          <ac:chgData name="Susana Jesus" userId="a4903a7d-807e-44bb-a534-81757c03a373" providerId="ADAL" clId="{AA641570-5FC1-4844-BBD4-60A0B1E6581C}" dt="2026-01-29T14:40:38.014" v="20" actId="1076"/>
          <ac:spMkLst>
            <pc:docMk/>
            <pc:sldMk cId="2482917762" sldId="2147483438"/>
            <ac:spMk id="7" creationId="{856E51A6-E66C-D855-8EF6-CBB4549C89E5}"/>
          </ac:spMkLst>
        </pc:spChg>
      </pc:sldChg>
      <pc:sldChg chg="modSp mod">
        <pc:chgData name="Susana Jesus" userId="a4903a7d-807e-44bb-a534-81757c03a373" providerId="ADAL" clId="{AA641570-5FC1-4844-BBD4-60A0B1E6581C}" dt="2026-01-29T14:38:52.847" v="8" actId="14100"/>
        <pc:sldMkLst>
          <pc:docMk/>
          <pc:sldMk cId="139465064" sldId="2147483450"/>
        </pc:sldMkLst>
        <pc:spChg chg="mod">
          <ac:chgData name="Susana Jesus" userId="a4903a7d-807e-44bb-a534-81757c03a373" providerId="ADAL" clId="{AA641570-5FC1-4844-BBD4-60A0B1E6581C}" dt="2026-01-29T14:38:52.847" v="8" actId="14100"/>
          <ac:spMkLst>
            <pc:docMk/>
            <pc:sldMk cId="139465064" sldId="2147483450"/>
            <ac:spMk id="7" creationId="{01D60540-3BC6-8FBA-1153-09EC99AB7B91}"/>
          </ac:spMkLst>
        </pc:spChg>
      </pc:sldChg>
      <pc:sldChg chg="modSp mod">
        <pc:chgData name="Susana Jesus" userId="a4903a7d-807e-44bb-a534-81757c03a373" providerId="ADAL" clId="{AA641570-5FC1-4844-BBD4-60A0B1E6581C}" dt="2026-01-29T14:53:00.649" v="144" actId="1076"/>
        <pc:sldMkLst>
          <pc:docMk/>
          <pc:sldMk cId="2091854244" sldId="2147483454"/>
        </pc:sldMkLst>
        <pc:spChg chg="mod">
          <ac:chgData name="Susana Jesus" userId="a4903a7d-807e-44bb-a534-81757c03a373" providerId="ADAL" clId="{AA641570-5FC1-4844-BBD4-60A0B1E6581C}" dt="2026-01-29T14:52:05.066" v="132" actId="14100"/>
          <ac:spMkLst>
            <pc:docMk/>
            <pc:sldMk cId="2091854244" sldId="2147483454"/>
            <ac:spMk id="54" creationId="{76567341-06CC-8C69-3740-8F392F08CD0C}"/>
          </ac:spMkLst>
        </pc:spChg>
        <pc:spChg chg="mod">
          <ac:chgData name="Susana Jesus" userId="a4903a7d-807e-44bb-a534-81757c03a373" providerId="ADAL" clId="{AA641570-5FC1-4844-BBD4-60A0B1E6581C}" dt="2026-01-29T14:52:01.857" v="131" actId="14100"/>
          <ac:spMkLst>
            <pc:docMk/>
            <pc:sldMk cId="2091854244" sldId="2147483454"/>
            <ac:spMk id="60" creationId="{89949CE6-52EC-958E-059A-AF56B084B030}"/>
          </ac:spMkLst>
        </pc:spChg>
        <pc:spChg chg="mod">
          <ac:chgData name="Susana Jesus" userId="a4903a7d-807e-44bb-a534-81757c03a373" providerId="ADAL" clId="{AA641570-5FC1-4844-BBD4-60A0B1E6581C}" dt="2026-01-29T14:52:11.953" v="133" actId="14100"/>
          <ac:spMkLst>
            <pc:docMk/>
            <pc:sldMk cId="2091854244" sldId="2147483454"/>
            <ac:spMk id="69" creationId="{840BD2FE-3BB4-2AA9-571D-7F6B23341245}"/>
          </ac:spMkLst>
        </pc:spChg>
        <pc:spChg chg="mod">
          <ac:chgData name="Susana Jesus" userId="a4903a7d-807e-44bb-a534-81757c03a373" providerId="ADAL" clId="{AA641570-5FC1-4844-BBD4-60A0B1E6581C}" dt="2026-01-29T14:53:00.649" v="144" actId="1076"/>
          <ac:spMkLst>
            <pc:docMk/>
            <pc:sldMk cId="2091854244" sldId="2147483454"/>
            <ac:spMk id="73" creationId="{79CD0CBA-8642-5BF7-36DE-75427472418D}"/>
          </ac:spMkLst>
        </pc:spChg>
        <pc:spChg chg="mod">
          <ac:chgData name="Susana Jesus" userId="a4903a7d-807e-44bb-a534-81757c03a373" providerId="ADAL" clId="{AA641570-5FC1-4844-BBD4-60A0B1E6581C}" dt="2026-01-29T14:52:37.748" v="139" actId="1076"/>
          <ac:spMkLst>
            <pc:docMk/>
            <pc:sldMk cId="2091854244" sldId="2147483454"/>
            <ac:spMk id="90" creationId="{DD7C6B41-99E5-B865-A920-E11A943E3A58}"/>
          </ac:spMkLst>
        </pc:spChg>
        <pc:spChg chg="mod">
          <ac:chgData name="Susana Jesus" userId="a4903a7d-807e-44bb-a534-81757c03a373" providerId="ADAL" clId="{AA641570-5FC1-4844-BBD4-60A0B1E6581C}" dt="2026-01-29T14:52:28.955" v="137" actId="1076"/>
          <ac:spMkLst>
            <pc:docMk/>
            <pc:sldMk cId="2091854244" sldId="2147483454"/>
            <ac:spMk id="105" creationId="{AEE05535-F47F-4E77-AA18-081E4343637F}"/>
          </ac:spMkLst>
        </pc:spChg>
      </pc:sldChg>
      <pc:sldChg chg="modSp del mod">
        <pc:chgData name="Susana Jesus" userId="a4903a7d-807e-44bb-a534-81757c03a373" providerId="ADAL" clId="{AA641570-5FC1-4844-BBD4-60A0B1E6581C}" dt="2026-02-19T13:44:29.483" v="210" actId="47"/>
        <pc:sldMkLst>
          <pc:docMk/>
          <pc:sldMk cId="3008752762" sldId="2147483468"/>
        </pc:sldMkLst>
      </pc:sldChg>
      <pc:sldChg chg="addSp delSp modSp del mod">
        <pc:chgData name="Susana Jesus" userId="a4903a7d-807e-44bb-a534-81757c03a373" providerId="ADAL" clId="{AA641570-5FC1-4844-BBD4-60A0B1E6581C}" dt="2026-02-19T13:44:29.483" v="210" actId="47"/>
        <pc:sldMkLst>
          <pc:docMk/>
          <pc:sldMk cId="2764561427" sldId="2147483469"/>
        </pc:sldMkLst>
      </pc:sldChg>
      <pc:sldChg chg="modSp mod">
        <pc:chgData name="Susana Jesus" userId="a4903a7d-807e-44bb-a534-81757c03a373" providerId="ADAL" clId="{AA641570-5FC1-4844-BBD4-60A0B1E6581C}" dt="2026-01-29T14:47:14.980" v="100" actId="20577"/>
        <pc:sldMkLst>
          <pc:docMk/>
          <pc:sldMk cId="1559479131" sldId="2147483573"/>
        </pc:sldMkLst>
        <pc:spChg chg="mod">
          <ac:chgData name="Susana Jesus" userId="a4903a7d-807e-44bb-a534-81757c03a373" providerId="ADAL" clId="{AA641570-5FC1-4844-BBD4-60A0B1E6581C}" dt="2026-01-29T14:47:14.980" v="100" actId="20577"/>
          <ac:spMkLst>
            <pc:docMk/>
            <pc:sldMk cId="1559479131" sldId="2147483573"/>
            <ac:spMk id="11" creationId="{E4493ED1-1233-147D-99FC-EB8DC8798A1C}"/>
          </ac:spMkLst>
        </pc:spChg>
      </pc:sldChg>
      <pc:sldChg chg="modSp mod">
        <pc:chgData name="Susana Jesus" userId="a4903a7d-807e-44bb-a534-81757c03a373" providerId="ADAL" clId="{AA641570-5FC1-4844-BBD4-60A0B1E6581C}" dt="2026-01-29T14:48:55.672" v="121" actId="14100"/>
        <pc:sldMkLst>
          <pc:docMk/>
          <pc:sldMk cId="868218788" sldId="2147483583"/>
        </pc:sldMkLst>
        <pc:spChg chg="mod">
          <ac:chgData name="Susana Jesus" userId="a4903a7d-807e-44bb-a534-81757c03a373" providerId="ADAL" clId="{AA641570-5FC1-4844-BBD4-60A0B1E6581C}" dt="2026-01-29T14:48:55.672" v="121" actId="14100"/>
          <ac:spMkLst>
            <pc:docMk/>
            <pc:sldMk cId="868218788" sldId="2147483583"/>
            <ac:spMk id="7" creationId="{6E8B1693-1911-4AF6-FE1C-A62F372BEC9F}"/>
          </ac:spMkLst>
        </pc:spChg>
        <pc:spChg chg="mod">
          <ac:chgData name="Susana Jesus" userId="a4903a7d-807e-44bb-a534-81757c03a373" providerId="ADAL" clId="{AA641570-5FC1-4844-BBD4-60A0B1E6581C}" dt="2026-01-29T14:48:55.672" v="121" actId="14100"/>
          <ac:spMkLst>
            <pc:docMk/>
            <pc:sldMk cId="868218788" sldId="2147483583"/>
            <ac:spMk id="8" creationId="{C741C377-F403-80B8-ADAC-88A8CD3C9FDF}"/>
          </ac:spMkLst>
        </pc:spChg>
        <pc:spChg chg="mod">
          <ac:chgData name="Susana Jesus" userId="a4903a7d-807e-44bb-a534-81757c03a373" providerId="ADAL" clId="{AA641570-5FC1-4844-BBD4-60A0B1E6581C}" dt="2026-01-29T14:48:55.672" v="121" actId="14100"/>
          <ac:spMkLst>
            <pc:docMk/>
            <pc:sldMk cId="868218788" sldId="2147483583"/>
            <ac:spMk id="9" creationId="{AEACD878-1EC7-6B04-2156-EE2125D11F4C}"/>
          </ac:spMkLst>
        </pc:spChg>
      </pc:sldChg>
      <pc:sldChg chg="addSp delSp modSp del mod">
        <pc:chgData name="Susana Jesus" userId="a4903a7d-807e-44bb-a534-81757c03a373" providerId="ADAL" clId="{AA641570-5FC1-4844-BBD4-60A0B1E6581C}" dt="2026-02-19T13:44:21.294" v="209" actId="47"/>
        <pc:sldMkLst>
          <pc:docMk/>
          <pc:sldMk cId="2134583996" sldId="2147483630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nilfisk-my.sharepoint.com/personal/ahagbarth_nilfisk_com/Documents/DESKTOP/Projects/MH%203-8/fuel%20saving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nilfisk-my.sharepoint.com/personal/ahagbarth_nilfisk_com/Documents/DESKTOP/Projects/MH%203-8/fuel%20saving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pt" sz="1400" b="0" i="0" u="none" baseline="0">
                <a:solidFill>
                  <a:schemeClr val="tx1"/>
                </a:solidFill>
              </a:rPr>
              <a:t>MH Antiga vs Nova – Preta Diesel</a:t>
            </a:r>
            <a:endParaRPr lang="pt-pt" sz="1400" noProof="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p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G$7</c:f>
              <c:strCache>
                <c:ptCount val="1"/>
                <c:pt idx="0">
                  <c:v>EUR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F$8:$F$10</c:f>
              <c:strCache>
                <c:ptCount val="3"/>
                <c:pt idx="0">
                  <c:v>3 years</c:v>
                </c:pt>
                <c:pt idx="1">
                  <c:v>5 years</c:v>
                </c:pt>
                <c:pt idx="2">
                  <c:v>10 Years</c:v>
                </c:pt>
              </c:strCache>
            </c:strRef>
          </c:cat>
          <c:val>
            <c:numRef>
              <c:f>Sheet1!$G$8:$G$10</c:f>
              <c:numCache>
                <c:formatCode>0</c:formatCode>
                <c:ptCount val="3"/>
                <c:pt idx="0">
                  <c:v>1055.3004000000037</c:v>
                </c:pt>
                <c:pt idx="1">
                  <c:v>1758.8340000000062</c:v>
                </c:pt>
                <c:pt idx="2">
                  <c:v>3517.6680000000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2B-492E-9281-CAB38892DE2E}"/>
            </c:ext>
          </c:extLst>
        </c:ser>
        <c:ser>
          <c:idx val="1"/>
          <c:order val="1"/>
          <c:tx>
            <c:strRef>
              <c:f>Sheet1!$H$7</c:f>
              <c:strCache>
                <c:ptCount val="1"/>
                <c:pt idx="0">
                  <c:v>Cost of machin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F$8:$F$10</c:f>
              <c:strCache>
                <c:ptCount val="3"/>
                <c:pt idx="0">
                  <c:v>3 years</c:v>
                </c:pt>
                <c:pt idx="1">
                  <c:v>5 years</c:v>
                </c:pt>
                <c:pt idx="2">
                  <c:v>10 Years</c:v>
                </c:pt>
              </c:strCache>
            </c:strRef>
          </c:cat>
          <c:val>
            <c:numRef>
              <c:f>Sheet1!$H$8:$H$10</c:f>
              <c:numCache>
                <c:formatCode>General</c:formatCode>
                <c:ptCount val="3"/>
                <c:pt idx="0">
                  <c:v>4687</c:v>
                </c:pt>
                <c:pt idx="1">
                  <c:v>4687</c:v>
                </c:pt>
                <c:pt idx="2">
                  <c:v>46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2B-492E-9281-CAB38892DE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86440400"/>
        <c:axId val="386443280"/>
      </c:barChart>
      <c:barChart>
        <c:barDir val="col"/>
        <c:grouping val="stacked"/>
        <c:varyColors val="0"/>
        <c:ser>
          <c:idx val="2"/>
          <c:order val="2"/>
          <c:tx>
            <c:strRef>
              <c:f>Sheet1!$I$7</c:f>
              <c:strCache>
                <c:ptCount val="1"/>
                <c:pt idx="0">
                  <c:v>Machine cost covered by saving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8F03AE9-671F-4A77-97F7-678E04066460}" type="VALUE">
                      <a:rPr lang="en-US" b="1" baseline="0">
                        <a:solidFill>
                          <a:schemeClr val="bg1"/>
                        </a:solidFill>
                        <a:latin typeface="+mj-lt"/>
                      </a:rPr>
                      <a:pPr/>
                      <a:t>[VALUE]</a:t>
                    </a:fld>
                    <a:endParaRPr lang="pt-PT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0923-4979-A1D7-77CCEFFB9A6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37DA707-EB0A-4DE2-9622-B53F68EB795B}" type="VALUE">
                      <a:rPr lang="en-US" b="1" baseline="0">
                        <a:solidFill>
                          <a:schemeClr val="bg1"/>
                        </a:solidFill>
                        <a:latin typeface="+mj-lt"/>
                      </a:rPr>
                      <a:pPr/>
                      <a:t>[VALUE]</a:t>
                    </a:fld>
                    <a:endParaRPr lang="pt-PT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923-4979-A1D7-77CCEFFB9A65}"/>
                </c:ext>
              </c:extLst>
            </c:dLbl>
            <c:dLbl>
              <c:idx val="2"/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 rtl="0">
                      <a:defRPr sz="9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44362C4-DD3F-4BFE-8C4D-2C39DBC34489}" type="VALUE">
                      <a:rPr lang="en-US" b="1" baseline="0">
                        <a:solidFill>
                          <a:schemeClr val="bg1"/>
                        </a:solidFill>
                        <a:latin typeface="+mj-lt"/>
                      </a:rPr>
                      <a:pPr rtl="0">
                        <a:defRPr/>
                      </a:pPr>
                      <a:t>[VALUE]</a:t>
                    </a:fld>
                    <a:endParaRPr lang="pt-PT"/>
                  </a:p>
                </c:rich>
              </c:tx>
              <c:spPr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 rtl="0"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45019"/>
                        <a:gd name="adj2" fmla="val -41046"/>
                      </a:avLst>
                    </a:prstGeom>
                    <a:noFill/>
                    <a:ln>
                      <a:noFill/>
                    </a:ln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0923-4979-A1D7-77CCEFFB9A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 rtl="0"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pt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Sheet1!$F$8:$F$10</c:f>
              <c:strCache>
                <c:ptCount val="3"/>
                <c:pt idx="0">
                  <c:v>3 years</c:v>
                </c:pt>
                <c:pt idx="1">
                  <c:v>5 years</c:v>
                </c:pt>
                <c:pt idx="2">
                  <c:v>10 Years</c:v>
                </c:pt>
              </c:strCache>
            </c:strRef>
          </c:cat>
          <c:val>
            <c:numRef>
              <c:f>Sheet1!$I$8:$I$10</c:f>
              <c:numCache>
                <c:formatCode>0%</c:formatCode>
                <c:ptCount val="3"/>
                <c:pt idx="0">
                  <c:v>0.22515476850864172</c:v>
                </c:pt>
                <c:pt idx="1">
                  <c:v>0.37525794751440283</c:v>
                </c:pt>
                <c:pt idx="2">
                  <c:v>0.750515895028805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2B-492E-9281-CAB38892DE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386516720"/>
        <c:axId val="386512400"/>
      </c:barChart>
      <c:catAx>
        <c:axId val="386440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386443280"/>
        <c:crosses val="autoZero"/>
        <c:auto val="1"/>
        <c:lblAlgn val="ctr"/>
        <c:lblOffset val="100"/>
        <c:noMultiLvlLbl val="0"/>
      </c:catAx>
      <c:valAx>
        <c:axId val="3864432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386440400"/>
        <c:crosses val="autoZero"/>
        <c:crossBetween val="between"/>
      </c:valAx>
      <c:valAx>
        <c:axId val="3865124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386516720"/>
        <c:crosses val="max"/>
        <c:crossBetween val="between"/>
      </c:valAx>
      <c:catAx>
        <c:axId val="3865167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651240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/>
      </a:pPr>
      <a:endParaRPr lang="pt-p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pt" sz="1400" b="0" i="0" u="none" baseline="0">
                <a:solidFill>
                  <a:schemeClr val="tx1"/>
                </a:solidFill>
              </a:rPr>
              <a:t>Antiga vs. Nova MH HVO Diesel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p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G$28</c:f>
              <c:strCache>
                <c:ptCount val="1"/>
                <c:pt idx="0">
                  <c:v>EUR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F$29:$F$31</c:f>
              <c:strCache>
                <c:ptCount val="3"/>
                <c:pt idx="0">
                  <c:v>3 years</c:v>
                </c:pt>
                <c:pt idx="1">
                  <c:v>5 years</c:v>
                </c:pt>
                <c:pt idx="2">
                  <c:v>10 Years</c:v>
                </c:pt>
              </c:strCache>
            </c:strRef>
          </c:cat>
          <c:val>
            <c:numRef>
              <c:f>Sheet1!$G$29:$G$31</c:f>
              <c:numCache>
                <c:formatCode>0</c:formatCode>
                <c:ptCount val="3"/>
                <c:pt idx="0">
                  <c:v>1145.9495838926196</c:v>
                </c:pt>
                <c:pt idx="1">
                  <c:v>1909.9159731543659</c:v>
                </c:pt>
                <c:pt idx="2">
                  <c:v>3819.8319463087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3E-4424-A3D5-658179F28943}"/>
            </c:ext>
          </c:extLst>
        </c:ser>
        <c:ser>
          <c:idx val="1"/>
          <c:order val="1"/>
          <c:tx>
            <c:strRef>
              <c:f>Sheet1!$H$28</c:f>
              <c:strCache>
                <c:ptCount val="1"/>
                <c:pt idx="0">
                  <c:v>Cost of machin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F$29:$F$31</c:f>
              <c:strCache>
                <c:ptCount val="3"/>
                <c:pt idx="0">
                  <c:v>3 years</c:v>
                </c:pt>
                <c:pt idx="1">
                  <c:v>5 years</c:v>
                </c:pt>
                <c:pt idx="2">
                  <c:v>10 Years</c:v>
                </c:pt>
              </c:strCache>
            </c:strRef>
          </c:cat>
          <c:val>
            <c:numRef>
              <c:f>Sheet1!$H$29:$H$31</c:f>
              <c:numCache>
                <c:formatCode>General</c:formatCode>
                <c:ptCount val="3"/>
                <c:pt idx="0">
                  <c:v>4687</c:v>
                </c:pt>
                <c:pt idx="1">
                  <c:v>4687</c:v>
                </c:pt>
                <c:pt idx="2">
                  <c:v>46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3E-4424-A3D5-658179F289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86490800"/>
        <c:axId val="386481680"/>
      </c:barChart>
      <c:barChart>
        <c:barDir val="col"/>
        <c:grouping val="clustered"/>
        <c:varyColors val="0"/>
        <c:ser>
          <c:idx val="2"/>
          <c:order val="2"/>
          <c:tx>
            <c:strRef>
              <c:f>Sheet1!$I$28</c:f>
              <c:strCache>
                <c:ptCount val="1"/>
                <c:pt idx="0">
                  <c:v>Machine cost covered by saving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3061407261547287E-3"/>
                  <c:y val="0.13072049194429455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 rtl="0">
                      <a:defRPr sz="9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072F217-09D8-410D-B203-6E2DCF51F938}" type="VALUE">
                      <a:rPr lang="en-US" b="1" baseline="0">
                        <a:solidFill>
                          <a:schemeClr val="bg1"/>
                        </a:solidFill>
                        <a:latin typeface="+mj-lt"/>
                      </a:rPr>
                      <a:pPr rtl="0">
                        <a:defRPr/>
                      </a:pPr>
                      <a:t>[VALUE]</a:t>
                    </a:fld>
                    <a:endParaRPr lang="pt-PT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 rtl="0"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DF3E-4424-A3D5-658179F28943}"/>
                </c:ext>
              </c:extLst>
            </c:dLbl>
            <c:dLbl>
              <c:idx val="1"/>
              <c:layout>
                <c:manualLayout>
                  <c:x val="0"/>
                  <c:y val="0.19794817351564589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 rtl="0">
                      <a:defRPr sz="9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39017A8-8763-4F82-A47D-A8C6E959B6C1}" type="VALUE">
                      <a:rPr lang="en-US" b="1" baseline="0">
                        <a:solidFill>
                          <a:schemeClr val="bg1"/>
                        </a:solidFill>
                        <a:latin typeface="+mj-lt"/>
                      </a:rPr>
                      <a:pPr rtl="0">
                        <a:defRPr/>
                      </a:pPr>
                      <a:t>[VALUE]</a:t>
                    </a:fld>
                    <a:endParaRPr lang="pt-PT"/>
                  </a:p>
                </c:rich>
              </c:tx>
              <c:spPr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 rtl="0"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26502"/>
                        <a:gd name="adj2" fmla="val 49316"/>
                      </a:avLst>
                    </a:prstGeom>
                    <a:noFill/>
                    <a:ln>
                      <a:noFill/>
                    </a:ln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F3E-4424-A3D5-658179F28943}"/>
                </c:ext>
              </c:extLst>
            </c:dLbl>
            <c:dLbl>
              <c:idx val="2"/>
              <c:layout>
                <c:manualLayout>
                  <c:x val="0"/>
                  <c:y val="0.36601737744402474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 rtl="0">
                      <a:defRPr sz="9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7146F96-5763-41D6-898F-CDD41AA79753}" type="VALUE">
                      <a:rPr lang="en-US" b="1" baseline="0">
                        <a:solidFill>
                          <a:schemeClr val="bg1"/>
                        </a:solidFill>
                        <a:latin typeface="+mj-lt"/>
                      </a:rPr>
                      <a:pPr rtl="0">
                        <a:defRPr/>
                      </a:pPr>
                      <a:t>[VALUE]</a:t>
                    </a:fld>
                    <a:endParaRPr lang="pt-PT"/>
                  </a:p>
                </c:rich>
              </c:tx>
              <c:spPr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 rtl="0"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4724"/>
                        <a:gd name="adj2" fmla="val 49316"/>
                      </a:avLst>
                    </a:prstGeom>
                    <a:noFill/>
                    <a:ln>
                      <a:noFill/>
                    </a:ln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DF3E-4424-A3D5-658179F28943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 rtl="0"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p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Sheet1!$F$29:$F$31</c:f>
              <c:strCache>
                <c:ptCount val="3"/>
                <c:pt idx="0">
                  <c:v>3 years</c:v>
                </c:pt>
                <c:pt idx="1">
                  <c:v>5 years</c:v>
                </c:pt>
                <c:pt idx="2">
                  <c:v>10 Years</c:v>
                </c:pt>
              </c:strCache>
            </c:strRef>
          </c:cat>
          <c:val>
            <c:numRef>
              <c:f>Sheet1!$I$29:$I$31</c:f>
              <c:numCache>
                <c:formatCode>0%</c:formatCode>
                <c:ptCount val="3"/>
                <c:pt idx="0">
                  <c:v>0.24449532406499244</c:v>
                </c:pt>
                <c:pt idx="1">
                  <c:v>0.40749220677498738</c:v>
                </c:pt>
                <c:pt idx="2">
                  <c:v>0.81498441354997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F3E-4424-A3D5-658179F289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86537840"/>
        <c:axId val="386523920"/>
      </c:barChart>
      <c:catAx>
        <c:axId val="386490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386481680"/>
        <c:crosses val="autoZero"/>
        <c:auto val="1"/>
        <c:lblAlgn val="ctr"/>
        <c:lblOffset val="100"/>
        <c:noMultiLvlLbl val="0"/>
      </c:catAx>
      <c:valAx>
        <c:axId val="3864816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386490800"/>
        <c:crosses val="autoZero"/>
        <c:crossBetween val="between"/>
      </c:valAx>
      <c:valAx>
        <c:axId val="3865239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386537840"/>
        <c:crosses val="max"/>
        <c:crossBetween val="between"/>
      </c:valAx>
      <c:catAx>
        <c:axId val="386537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65239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/>
      </a:pPr>
      <a:endParaRPr lang="pt-p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521069106669877E-2"/>
          <c:y val="0.11022272986864649"/>
          <c:w val="0.97495786178666022"/>
          <c:h val="0.779554540262706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cmpd="sng" algn="ctr">
              <a:noFill/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5"/>
              </a:solidFill>
              <a:ln w="9525" cmpd="sng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481-4EDD-A915-FB45483BD63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 w="9525" cmpd="sng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481-4EDD-A915-FB45483BD631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0.71889999999999998</c:v>
                </c:pt>
                <c:pt idx="1">
                  <c:v>0.71889999999999998</c:v>
                </c:pt>
                <c:pt idx="2">
                  <c:v>3.2633701674000006</c:v>
                </c:pt>
                <c:pt idx="3">
                  <c:v>3.6134599999999999</c:v>
                </c:pt>
                <c:pt idx="4">
                  <c:v>3.6134599999999999</c:v>
                </c:pt>
                <c:pt idx="5">
                  <c:v>3.2633701674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481-4EDD-A915-FB45483BD631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 w="9525" cmpd="sng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B481-4EDD-A915-FB45483BD63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 w="9525" cmpd="sng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B481-4EDD-A915-FB45483BD63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9525" cmpd="sng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B481-4EDD-A915-FB45483BD63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 w="9525" cmpd="sng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B481-4EDD-A915-FB45483BD63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 w="9525" cmpd="sng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B481-4EDD-A915-FB45483BD63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 w="9525" cmpd="sng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B481-4EDD-A915-FB45483BD631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0">
                  <c:v>18.73378122088949</c:v>
                </c:pt>
                <c:pt idx="1">
                  <c:v>18.038757937594486</c:v>
                </c:pt>
                <c:pt idx="2">
                  <c:v>0.71890000000000009</c:v>
                </c:pt>
                <c:pt idx="3">
                  <c:v>18.73378122088949</c:v>
                </c:pt>
                <c:pt idx="4">
                  <c:v>18.038757937594486</c:v>
                </c:pt>
                <c:pt idx="5">
                  <c:v>3.6134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481-4EDD-A915-FB45483BD6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40610208"/>
        <c:axId val="1"/>
      </c:barChart>
      <c:catAx>
        <c:axId val="1840610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.34724122088949"/>
          <c:min val="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840610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2/1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47165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57695F-8BDF-1CE0-6F2D-CD9733058D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7FED62-C599-2ACA-2FA6-9D6DB232C8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266B2F-6199-A1BD-9ACC-D54A447AEA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3050A-4896-4B1F-6C17-58DCCF9FC8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753902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F7A7C9-B2E8-2EC8-9970-AAD76E9B2D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143818-6764-12ED-66E0-68BF7170C2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74D44D-834F-EDDA-258A-ABAB4E0B4F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8ECD5B-8D78-2A5A-F160-73A41C1F2F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54CEA7-A081-4B80-B0DE-E1334A21D67A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44005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6002BD-2DAC-33C1-5CBC-6A2BE456F0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DA7E35-1E5B-846C-773A-EF2B8F4AB2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1F7B1E-92D1-F4BA-18EB-50E31F41C2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31530-2096-2753-803E-D18B526326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54CEA7-A081-4B80-B0DE-E1334A21D67A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44526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4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567338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5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88185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5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35321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10.emf"/><Relationship Id="rId4" Type="http://schemas.openxmlformats.org/officeDocument/2006/relationships/tags" Target="../tags/tag27.xml"/><Relationship Id="rId9" Type="http://schemas.openxmlformats.org/officeDocument/2006/relationships/oleObject" Target="../embeddings/oleObject8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092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143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1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28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17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14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43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929576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146260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3049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16090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5755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80025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5480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6695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16426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442944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66862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FED7D5-F5DD-4D0F-AA1A-BC64C29C5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3DAAD1-0937-4AE7-86E3-9DA79673C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4651F-7889-48DD-BA6E-FB81A74A0579}" type="slidenum">
              <a:rPr lang="da-DK" smtClean="0"/>
              <a:t>‹#›</a:t>
            </a:fld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934D1E4-26B5-4458-8940-93FE838E8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639712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9 February 2026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03921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6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C777379-BECC-46E3-9D1C-F248C61333FE}" type="datetime1">
              <a:rPr lang="en-US" smtClean="0">
                <a:solidFill>
                  <a:srgbClr val="7C878E"/>
                </a:solidFill>
              </a:rPr>
              <a:t>2/19/2026</a:t>
            </a:fld>
            <a:endParaRPr lang="en-US">
              <a:solidFill>
                <a:srgbClr val="7C878E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C878E"/>
                </a:solidFill>
              </a:rPr>
              <a:t>COMPANY CONFIDENTIA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>
                <a:solidFill>
                  <a:srgbClr val="7C878E"/>
                </a:solidFill>
              </a:rPr>
              <a:pPr/>
              <a:t>‹#›</a:t>
            </a:fld>
            <a:endParaRPr lang="en-US">
              <a:solidFill>
                <a:srgbClr val="7C878E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360000" y="680223"/>
            <a:ext cx="11470049" cy="486777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3"/>
          </p:nvPr>
        </p:nvSpPr>
        <p:spPr>
          <a:xfrm>
            <a:off x="602166" y="299798"/>
            <a:ext cx="11317094" cy="270197"/>
          </a:xfrm>
        </p:spPr>
        <p:txBody>
          <a:bodyPr anchor="ctr"/>
          <a:lstStyle>
            <a:lvl1pPr marL="0" indent="0">
              <a:buNone/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610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144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5" y="637721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53563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A2DB211-0B13-4B81-9EC6-AAEE08B7CACD}" type="datetime1">
              <a:rPr lang="en-US" noProof="0" smtClean="0"/>
              <a:t>2/19/2026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360000" y="1346402"/>
            <a:ext cx="3678601" cy="49369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9"/>
          </p:nvPr>
        </p:nvSpPr>
        <p:spPr>
          <a:xfrm>
            <a:off x="8151448" y="1346402"/>
            <a:ext cx="3678601" cy="49369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A11ADACD-4CA6-4021-9C9D-914DFA3C7E4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52914" y="1346402"/>
            <a:ext cx="3678601" cy="49369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324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oleObject" Target="../embeddings/oleObject6.bin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03593050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2/1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1961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7" r:id="rId19"/>
    <p:sldLayoutId id="2147483759" r:id="rId20"/>
    <p:sldLayoutId id="2147483760" r:id="rId21"/>
    <p:sldLayoutId id="2147483761" r:id="rId22"/>
    <p:sldLayoutId id="2147483764" r:id="rId23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25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4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3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emf"/><Relationship Id="rId9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2" Type="http://schemas.openxmlformats.org/officeDocument/2006/relationships/image" Target="../media/image37.png"/><Relationship Id="rId16" Type="http://schemas.openxmlformats.org/officeDocument/2006/relationships/image" Target="../media/image51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5" Type="http://schemas.openxmlformats.org/officeDocument/2006/relationships/image" Target="../media/image5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34.xml"/><Relationship Id="rId6" Type="http://schemas.openxmlformats.org/officeDocument/2006/relationships/image" Target="../media/image57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27.xml"/><Relationship Id="rId7" Type="http://schemas.openxmlformats.org/officeDocument/2006/relationships/chart" Target="../charts/chart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59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tags" Target="../tags/tag62.xml"/><Relationship Id="rId21" Type="http://schemas.openxmlformats.org/officeDocument/2006/relationships/tags" Target="../tags/tag57.xml"/><Relationship Id="rId34" Type="http://schemas.openxmlformats.org/officeDocument/2006/relationships/oleObject" Target="../embeddings/oleObject13.bin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tags" Target="../tags/tag61.xml"/><Relationship Id="rId33" Type="http://schemas.openxmlformats.org/officeDocument/2006/relationships/slideLayout" Target="../slideLayouts/slideLayout31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29" Type="http://schemas.openxmlformats.org/officeDocument/2006/relationships/tags" Target="../tags/tag65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tags" Target="../tags/tag60.xml"/><Relationship Id="rId32" Type="http://schemas.openxmlformats.org/officeDocument/2006/relationships/tags" Target="../tags/tag68.xml"/><Relationship Id="rId37" Type="http://schemas.openxmlformats.org/officeDocument/2006/relationships/image" Target="../media/image60.png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28" Type="http://schemas.openxmlformats.org/officeDocument/2006/relationships/tags" Target="../tags/tag64.xml"/><Relationship Id="rId36" Type="http://schemas.openxmlformats.org/officeDocument/2006/relationships/chart" Target="../charts/chart3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31" Type="http://schemas.openxmlformats.org/officeDocument/2006/relationships/tags" Target="../tags/tag67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Relationship Id="rId27" Type="http://schemas.openxmlformats.org/officeDocument/2006/relationships/tags" Target="../tags/tag63.xml"/><Relationship Id="rId30" Type="http://schemas.openxmlformats.org/officeDocument/2006/relationships/tags" Target="../tags/tag66.xml"/><Relationship Id="rId35" Type="http://schemas.openxmlformats.org/officeDocument/2006/relationships/image" Target="../media/image59.emf"/><Relationship Id="rId8" Type="http://schemas.openxmlformats.org/officeDocument/2006/relationships/tags" Target="../tags/tag44.xml"/><Relationship Id="rId3" Type="http://schemas.openxmlformats.org/officeDocument/2006/relationships/tags" Target="../tags/tag3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u-nited.net/cms/index.php?idart=3352" TargetMode="External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6" Type="http://schemas.openxmlformats.org/officeDocument/2006/relationships/image" Target="../media/image15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F594A80-3DBA-E4CD-687A-F94A1D9F3B9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2738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9348255-D225-7243-92AA-22DACABAB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69851"/>
            <a:ext cx="11233150" cy="1169582"/>
          </a:xfrm>
        </p:spPr>
        <p:txBody>
          <a:bodyPr anchor="t">
            <a:normAutofit/>
          </a:bodyPr>
          <a:lstStyle/>
          <a:p>
            <a:pPr rtl="0"/>
            <a:r>
              <a:rPr lang="pt-pt" b="1" i="0" u="none" baseline="0" dirty="0"/>
              <a:t>Nova gama MH: </a:t>
            </a:r>
            <a:br>
              <a:rPr lang="pt-pt" dirty="0"/>
            </a:br>
            <a:r>
              <a:rPr lang="pt-pt" b="1" i="0" u="none" baseline="0" dirty="0"/>
              <a:t>Apresentação de vendas</a:t>
            </a:r>
          </a:p>
        </p:txBody>
      </p:sp>
    </p:spTree>
    <p:extLst>
      <p:ext uri="{BB962C8B-B14F-4D97-AF65-F5344CB8AC3E}">
        <p14:creationId xmlns:p14="http://schemas.microsoft.com/office/powerpoint/2010/main" val="232385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70D34-4E24-D134-9CA4-767388B114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D06C49-D125-91FB-C810-124BCBE6A0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Produto </a:t>
            </a:r>
          </a:p>
          <a:p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47F623-4BC1-E7F5-DBC7-453BF048C7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5DFE04-FC88-67E4-C2E5-AEA0B67EAC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0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421714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36454F-E126-4A84-F8EC-77661FAC245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</p:spPr>
        <p:txBody>
          <a:bodyPr vert="horz" lIns="216000" tIns="1656000" rIns="180000" bIns="216000" rtlCol="0" anchor="t">
            <a:normAutofit/>
          </a:bodyPr>
          <a:lstStyle/>
          <a:p>
            <a:pPr marL="0" indent="0" algn="l" rtl="0">
              <a:buNone/>
            </a:pPr>
            <a:r>
              <a:rPr lang="pt-pt" sz="1600" b="1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Desempenho</a:t>
            </a:r>
          </a:p>
          <a:p>
            <a:pPr marL="0" indent="0" algn="l" rtl="0">
              <a:buNone/>
            </a:pPr>
            <a:endParaRPr lang="pt-pt" b="1" noProof="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/>
              <a:t>Inovadora, eficiente e construída para durar - a nossa tecnologia avançada e líder da indústria maximiza o desempenho, reduz os custos e adapta-se às diversas necessidades da indústria, garantindo ao mesmo tempo durabilidade e máximo tempo de atividade.</a:t>
            </a:r>
            <a:endParaRPr lang="pt-pt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endParaRPr lang="pt-pt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31AD9-C61C-9C34-30BA-930D18D744F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19200"/>
            <a:ext cx="3559175" cy="4610837"/>
          </a:xfrm>
        </p:spPr>
        <p:txBody>
          <a:bodyPr vert="horz" lIns="216000" tIns="1656000" rIns="180000" bIns="216000" rtlCol="0" anchor="t">
            <a:normAutofit/>
          </a:bodyPr>
          <a:lstStyle/>
          <a:p>
            <a:pPr marL="0" indent="0" algn="l" rtl="0">
              <a:buNone/>
            </a:pPr>
            <a:r>
              <a:rPr lang="pt-pt" sz="1600" b="1" i="0" u="none" baseline="0">
                <a:solidFill>
                  <a:schemeClr val="accent3"/>
                </a:solidFill>
                <a:latin typeface="Roboto Bold"/>
                <a:ea typeface="Roboto Bold"/>
                <a:cs typeface="Roboto Bold"/>
              </a:rPr>
              <a:t>Controlo</a:t>
            </a:r>
          </a:p>
          <a:p>
            <a:pPr marL="0" indent="0" algn="l" rtl="0">
              <a:buNone/>
            </a:pPr>
            <a:endParaRPr lang="pt-pt" b="1" noProof="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/>
              <a:t>Inteligentes, adaptáveis e fáceis de utilizar - as nossas soluções oferecem flexibilidade de combustível, controlos intuitivos e foram concebidas para melhorar a eficiência, a consistência e a facilidade de operação em todos os setores.</a:t>
            </a:r>
            <a:endParaRPr lang="pt-pt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endParaRPr lang="pt-pt" b="1" noProof="0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7ECAF9B6-A1DC-CF7F-3958-D95732680E5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</p:spPr>
        <p:txBody>
          <a:bodyPr vert="horz" lIns="216000" tIns="1656000" rIns="180000" bIns="216000" rtlCol="0" anchor="t">
            <a:noAutofit/>
          </a:bodyPr>
          <a:lstStyle/>
          <a:p>
            <a:pPr marL="0" indent="0" algn="l" rtl="0">
              <a:buNone/>
            </a:pPr>
            <a:r>
              <a:rPr lang="pt-pt" sz="1600" b="1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Sustentabilidade</a:t>
            </a:r>
          </a:p>
          <a:p>
            <a:pPr marL="0" indent="0" algn="l" rtl="0">
              <a:buNone/>
            </a:pPr>
            <a:endParaRPr lang="pt-pt" b="1" noProof="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/>
              <a:t>Sustentáveis, rentáveis e de fácil manutenção - as nossas soluções reduzem as emissões de CO₂ em até 80%, reduzem os custos operacionais e minimizam o down-time com diagnósticos inteligentes, manutenção guiada e assistência técnica perfeita.</a:t>
            </a:r>
            <a:endParaRPr lang="pt-pt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endParaRPr lang="pt-pt" b="1" noProof="0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457109C-1BAE-8402-14CB-D31259068B2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920896" y="6529068"/>
            <a:ext cx="2087655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r>
              <a:rPr lang="pt-pt" b="0" i="0" u="none" baseline="0"/>
              <a:t>CONFIDENCIAL DA EMPRESA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EAC0A30-D522-A73F-A317-3D5B3675CD1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479426" y="6529068"/>
            <a:ext cx="270170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fld id="{6C385236-B7BA-4938-9EA6-6DEC8CA653D7}" type="slidenum">
              <a:rPr/>
              <a:pPr>
                <a:spcAft>
                  <a:spcPts val="600"/>
                </a:spcAft>
              </a:pPr>
              <a:t>11</a:t>
            </a:fld>
            <a:endParaRPr lang="pt-pt" noProof="0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02264A9-FE14-B35E-8B01-91EBAB03F7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Elevada eficiência e controlo 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B3176715-B1CF-4CF2-56ED-17A9557A14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anchor="t">
            <a:normAutofit/>
          </a:bodyPr>
          <a:lstStyle/>
          <a:p>
            <a:pPr algn="l" rtl="0"/>
            <a:r>
              <a:rPr lang="pt-pt" sz="2400" b="1" i="0" u="none" baseline="0"/>
              <a:t>Concebida e desenvolvida para o desempenho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1D53E68-680D-1202-CE73-BC2698C706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64529" y="1846736"/>
            <a:ext cx="1550688" cy="86989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661269D-AD71-1DAB-245C-8E7ED0BA3B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76104" y="1750980"/>
            <a:ext cx="1113766" cy="111376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A3D0ECE-611D-9C71-DABE-9654F9A002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08718" y="1793110"/>
            <a:ext cx="1168707" cy="119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076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76A618-52C9-A0C8-F581-12FD29BAA8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95DF2D06-06FF-A3B9-D211-0694C7D42532}"/>
              </a:ext>
            </a:extLst>
          </p:cNvPr>
          <p:cNvSpPr txBox="1">
            <a:spLocks/>
          </p:cNvSpPr>
          <p:nvPr/>
        </p:nvSpPr>
        <p:spPr>
          <a:xfrm>
            <a:off x="7934325" y="0"/>
            <a:ext cx="4257674" cy="6283325"/>
          </a:xfrm>
          <a:prstGeom prst="rect">
            <a:avLst/>
          </a:prstGeom>
          <a:solidFill>
            <a:srgbClr val="EEEFF1"/>
          </a:solidFill>
        </p:spPr>
        <p:txBody>
          <a:bodyPr lIns="457200" tIns="2377440" rIns="457200" bIns="365760" anchor="t" anchorCtr="0"/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endParaRPr lang="pt-pt" noProof="0" dirty="0"/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501868B3-3D7C-163B-86BA-861BEEAA441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214C7CC5-5D3F-B8BA-22F9-4DC361739C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2</a:t>
            </a:fld>
            <a:endParaRPr lang="pt-pt" noProof="0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6E16CC6-B737-FE2E-226A-879EE8EE0D0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52216"/>
            <a:ext cx="5453230" cy="376456"/>
          </a:xfrm>
          <a:solidFill>
            <a:schemeClr val="bg1"/>
          </a:solidFill>
          <a:effectLst/>
        </p:spPr>
        <p:txBody>
          <a:bodyPr vert="horz" lIns="0" tIns="0" rIns="0" bIns="0" rtlCol="0" anchor="t">
            <a:noAutofit/>
          </a:bodyPr>
          <a:lstStyle/>
          <a:p>
            <a:pPr marL="0" indent="0" algn="l" rtl="0">
              <a:buNone/>
            </a:pPr>
            <a:r>
              <a:rPr lang="pt-pt" sz="1200" b="0" i="0" u="none" baseline="0"/>
              <a:t>Nova gama MH - uma atualização completa da gama</a:t>
            </a:r>
            <a:endParaRPr lang="pt-pt" sz="1200" noProof="0" dirty="0">
              <a:ea typeface="Roboto Light"/>
              <a:cs typeface="Roboto Light"/>
            </a:endParaRP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30ACA6E1-4FD7-AB1C-87F9-5DC8DE43558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934326" y="1452216"/>
            <a:ext cx="3776298" cy="4821584"/>
          </a:xfrm>
          <a:solidFill>
            <a:schemeClr val="bg1">
              <a:alpha val="0"/>
            </a:schemeClr>
          </a:solidFill>
          <a:effectLst/>
        </p:spPr>
        <p:txBody>
          <a:bodyPr lIns="288000" tIns="0" rIns="0" bIns="0"/>
          <a:lstStyle/>
          <a:p>
            <a:pPr marL="0" indent="0" algn="l" rtl="0">
              <a:buNone/>
            </a:pPr>
            <a:r>
              <a:rPr lang="pt-pt" sz="1200" b="0" i="0" u="none" baseline="0"/>
              <a:t>Detalhes sobre a designação</a:t>
            </a:r>
          </a:p>
          <a:p>
            <a:pPr marL="0" indent="0" algn="l" rtl="0">
              <a:buNone/>
            </a:pPr>
            <a:endParaRPr lang="pt-pt" sz="900" noProof="0" dirty="0"/>
          </a:p>
          <a:p>
            <a:pPr marL="0" indent="0" algn="l" rtl="0">
              <a:buNone/>
            </a:pPr>
            <a:r>
              <a:rPr lang="pt-pt" sz="900" b="1" i="0" u="none" baseline="0"/>
              <a:t>Exemplo</a:t>
            </a:r>
          </a:p>
          <a:p>
            <a:pPr marL="0" indent="0" algn="l" rtl="0">
              <a:buNone/>
            </a:pPr>
            <a:endParaRPr lang="pt-pt" sz="900" b="1" noProof="0" dirty="0">
              <a:latin typeface="+mj-lt"/>
            </a:endParaRPr>
          </a:p>
          <a:p>
            <a:pPr marL="0" indent="0" algn="l" rtl="0">
              <a:buNone/>
            </a:pPr>
            <a:r>
              <a:rPr lang="pt-pt" sz="1000" b="0" i="0" u="none" baseline="0">
                <a:latin typeface="+mj-lt"/>
                <a:ea typeface="+mj-lt"/>
                <a:cs typeface="+mj-lt"/>
              </a:rPr>
              <a:t>MH35C PAX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MH = Mobile Hot (Móvel quente)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3 = Número na gama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5 = Máquina Advanced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C = Máquina compacta com motor de 2800 rpm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PA = Pressão ativada 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X = Enrolador de mangueira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		</a:t>
            </a:r>
          </a:p>
          <a:p>
            <a:pPr marL="0" indent="0" algn="l" rtl="0">
              <a:buNone/>
            </a:pPr>
            <a:r>
              <a:rPr lang="pt-pt" sz="1000" b="0" i="0" u="none" baseline="0">
                <a:latin typeface="+mj-lt"/>
                <a:ea typeface="+mj-lt"/>
                <a:cs typeface="+mj-lt"/>
              </a:rPr>
              <a:t>MH50M PA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MH = Mobile Hot (Móvel quente)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5 = Número na gama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0 = Máquina standard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M = Máquina média com motor de 1450 rpm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PA = Pressão ativada </a:t>
            </a:r>
          </a:p>
          <a:p>
            <a:pPr marL="0" indent="0" algn="l" rtl="0">
              <a:buNone/>
            </a:pPr>
            <a:endParaRPr lang="pt-pt" sz="1000" noProof="0" dirty="0"/>
          </a:p>
          <a:p>
            <a:pPr marL="0" indent="0" algn="l" rtl="0">
              <a:buNone/>
            </a:pPr>
            <a:r>
              <a:rPr lang="pt-pt" sz="1000" b="0" i="0" u="none" baseline="0">
                <a:latin typeface="+mj-lt"/>
                <a:ea typeface="+mj-lt"/>
                <a:cs typeface="+mj-lt"/>
              </a:rPr>
              <a:t>MH75P FAX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MH = Mobile Hot (Móvel quente)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7 = Número na gama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5 = Máquina Advanced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P = Máquina premium com motor de 1450 rpm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FA = Fluxo ativado</a:t>
            </a:r>
          </a:p>
          <a:p>
            <a:pPr marL="0" indent="0" algn="l" rtl="0">
              <a:buNone/>
            </a:pPr>
            <a:r>
              <a:rPr lang="pt-pt" sz="1000" b="0" i="0" u="none" baseline="0"/>
              <a:t>X = Enrolador de mangueira</a:t>
            </a:r>
          </a:p>
          <a:p>
            <a:pPr marL="0" indent="0" algn="l" rtl="0">
              <a:buNone/>
            </a:pPr>
            <a:r>
              <a:rPr lang="pt-pt" b="0" i="0" u="none" baseline="0"/>
              <a:t>	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5096E1D5-853B-35E7-79BF-B9A762EC8B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O quê e quando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B400493-1741-7F18-1924-A94942DA7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Lançamentos e nomes da nova gama MH</a:t>
            </a:r>
          </a:p>
        </p:txBody>
      </p:sp>
      <p:graphicFrame>
        <p:nvGraphicFramePr>
          <p:cNvPr id="9" name="Table 47">
            <a:extLst>
              <a:ext uri="{FF2B5EF4-FFF2-40B4-BE49-F238E27FC236}">
                <a16:creationId xmlns:a16="http://schemas.microsoft.com/office/drawing/2014/main" id="{8D8977DC-3619-516B-8411-65F4B55CB7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6373478"/>
              </p:ext>
            </p:extLst>
          </p:nvPr>
        </p:nvGraphicFramePr>
        <p:xfrm>
          <a:off x="475520" y="1801376"/>
          <a:ext cx="7109645" cy="4219956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11761">
                  <a:extLst>
                    <a:ext uri="{9D8B030D-6E8A-4147-A177-3AD203B41FA5}">
                      <a16:colId xmlns:a16="http://schemas.microsoft.com/office/drawing/2014/main" val="745669182"/>
                    </a:ext>
                  </a:extLst>
                </a:gridCol>
                <a:gridCol w="3897884">
                  <a:extLst>
                    <a:ext uri="{9D8B030D-6E8A-4147-A177-3AD203B41FA5}">
                      <a16:colId xmlns:a16="http://schemas.microsoft.com/office/drawing/2014/main" val="828148620"/>
                    </a:ext>
                  </a:extLst>
                </a:gridCol>
              </a:tblGrid>
              <a:tr h="263411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pt-pt" sz="12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</a:rPr>
                        <a:t>Gama MH </a:t>
                      </a:r>
                      <a:r>
                        <a:rPr kumimoji="0" lang="pt-pt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</a:rPr>
                        <a:t>		</a:t>
                      </a:r>
                    </a:p>
                  </a:txBody>
                  <a:tcPr marL="0" anchor="b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pt-pt" sz="12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</a:rPr>
                        <a:t>Lançamento</a:t>
                      </a:r>
                    </a:p>
                  </a:txBody>
                  <a:tcPr anchor="b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2972686"/>
                  </a:ext>
                </a:extLst>
              </a:tr>
              <a:tr h="251128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H35C</a:t>
                      </a: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Jan. 2026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2087247"/>
                  </a:ext>
                </a:extLst>
              </a:tr>
              <a:tr h="251128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H45M</a:t>
                      </a: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Jan. 2026*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7083369"/>
                  </a:ext>
                </a:extLst>
              </a:tr>
              <a:tr h="251128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H55M</a:t>
                      </a: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baseline="0"/>
                        <a:t>Jan. 2026*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43963"/>
                  </a:ext>
                </a:extLst>
              </a:tr>
              <a:tr h="251128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MH30C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Jan. 2026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1114718"/>
                  </a:ext>
                </a:extLst>
              </a:tr>
              <a:tr h="251128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MH40M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Jan. 2026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4320904"/>
                  </a:ext>
                </a:extLst>
              </a:tr>
              <a:tr h="251128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MH50M 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Jan. 2026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3486931"/>
                  </a:ext>
                </a:extLst>
              </a:tr>
              <a:tr h="271507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baseline="0"/>
                        <a:t>MH35M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baseline="0"/>
                        <a:t>Ago. 2026</a:t>
                      </a: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1657190"/>
                  </a:ext>
                </a:extLst>
              </a:tr>
              <a:tr h="251128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MH65P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baseline="0"/>
                        <a:t>Ago. 2026</a:t>
                      </a: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1344329"/>
                  </a:ext>
                </a:extLst>
              </a:tr>
              <a:tr h="271507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baseline="0"/>
                        <a:t>MH75P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baseline="0"/>
                        <a:t>Ago. 2026</a:t>
                      </a: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8733462"/>
                  </a:ext>
                </a:extLst>
              </a:tr>
              <a:tr h="251128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MH85P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baseline="0"/>
                        <a:t>Ago. 2026</a:t>
                      </a: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6132638"/>
                  </a:ext>
                </a:extLst>
              </a:tr>
              <a:tr h="251128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MH20C 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baseline="0"/>
                        <a:t>Ago. 2026</a:t>
                      </a: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6477203"/>
                  </a:ext>
                </a:extLst>
              </a:tr>
              <a:tr h="251128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MH60P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baseline="0"/>
                        <a:t>Ago. 2026</a:t>
                      </a: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467149"/>
                  </a:ext>
                </a:extLst>
              </a:tr>
              <a:tr h="251128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baseline="0"/>
                        <a:t>MH70P 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baseline="0"/>
                        <a:t>Ago. 2026</a:t>
                      </a: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4833451"/>
                  </a:ext>
                </a:extLst>
              </a:tr>
              <a:tr h="271507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baseline="0"/>
                        <a:t>MH55M E </a:t>
                      </a:r>
                      <a:endParaRPr lang="pt-pt" sz="10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baseline="0"/>
                        <a:t>Out. 2026</a:t>
                      </a:r>
                    </a:p>
                  </a:txBody>
                  <a:tcPr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0774074"/>
                  </a:ext>
                </a:extLst>
              </a:tr>
            </a:tbl>
          </a:graphicData>
        </a:graphic>
      </p:graphicFrame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8F47E3C9-416F-3756-A855-0DCA6D7DD41E}"/>
              </a:ext>
            </a:extLst>
          </p:cNvPr>
          <p:cNvSpPr txBox="1">
            <a:spLocks/>
          </p:cNvSpPr>
          <p:nvPr/>
        </p:nvSpPr>
        <p:spPr>
          <a:xfrm>
            <a:off x="479425" y="6155029"/>
            <a:ext cx="5453230" cy="153889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pt-pt" sz="900" b="0" i="0" u="none" baseline="0"/>
              <a:t>* Versões não EMEA a lançar em agosto de 2026</a:t>
            </a:r>
          </a:p>
        </p:txBody>
      </p:sp>
    </p:spTree>
    <p:extLst>
      <p:ext uri="{BB962C8B-B14F-4D97-AF65-F5344CB8AC3E}">
        <p14:creationId xmlns:p14="http://schemas.microsoft.com/office/powerpoint/2010/main" val="1349649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4BA09A51-7598-223E-BDB5-2C5D3475B35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5538" y="0"/>
            <a:ext cx="5986461" cy="6284890"/>
          </a:xfrm>
        </p:spPr>
      </p:pic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F4EBB5D0-771D-BA13-5788-5F8FEF2EF1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2521" y="1660725"/>
            <a:ext cx="5507038" cy="4571248"/>
          </a:xfrm>
        </p:spPr>
        <p:txBody>
          <a:bodyPr/>
          <a:lstStyle/>
          <a:p>
            <a:pPr marL="0" indent="0" algn="l" rtl="0">
              <a:buNone/>
            </a:pPr>
            <a:r>
              <a:rPr lang="pt-pt" sz="1100" b="0" i="0" u="none" baseline="0" dirty="0">
                <a:latin typeface="Roboto Bold"/>
                <a:ea typeface="Roboto Bold"/>
                <a:cs typeface="Roboto Bold"/>
              </a:rPr>
              <a:t>Desempenho e eficiência </a:t>
            </a:r>
          </a:p>
          <a:p>
            <a:pPr marL="198755" indent="-198755" algn="l" rtl="0"/>
            <a:r>
              <a:rPr lang="pt-pt" sz="1100" b="0" i="0" u="none" baseline="0" dirty="0"/>
              <a:t>Eficiência da caldeira melhorada e patenteada (~96% de eficiência)*</a:t>
            </a:r>
            <a:endParaRPr lang="pt-pt" sz="11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100" b="0" i="0" u="none" baseline="0" dirty="0"/>
              <a:t>Eficiência diesel melhorada (~4,4% de poupança de diesel)*</a:t>
            </a:r>
            <a:endParaRPr lang="pt-pt" sz="11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100" b="0" i="0" u="none" baseline="0" dirty="0"/>
              <a:t>Compatibilidade com biocombustível (até 80% de redução de CO</a:t>
            </a:r>
            <a:r>
              <a:rPr lang="pt-pt" sz="1100" b="0" i="0" u="none" baseline="-25000" dirty="0"/>
              <a:t>2</a:t>
            </a:r>
            <a:r>
              <a:rPr lang="pt-pt" sz="1100" b="0" i="0" u="none" baseline="0" dirty="0"/>
              <a:t>)</a:t>
            </a:r>
            <a:endParaRPr lang="pt-pt" sz="11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100" b="0" i="0" u="none" baseline="0" dirty="0"/>
              <a:t>Sistema de sensor de chama melhorado e com patente pendente</a:t>
            </a:r>
            <a:endParaRPr lang="pt-pt" sz="11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100" b="0" i="0" u="none" baseline="0" dirty="0"/>
              <a:t>Sistema de dosagem de detergente melhorado e com patente pendente </a:t>
            </a:r>
            <a:endParaRPr lang="pt-pt" sz="1100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endParaRPr lang="pt-pt" sz="1100" noProof="0" dirty="0"/>
          </a:p>
          <a:p>
            <a:pPr marL="0" indent="0" algn="l" rtl="0">
              <a:buNone/>
            </a:pPr>
            <a:r>
              <a:rPr lang="pt-pt" sz="1100" b="0" i="0" u="none" baseline="0" dirty="0">
                <a:latin typeface="+mj-lt"/>
                <a:ea typeface="+mj-lt"/>
                <a:cs typeface="+mj-lt"/>
              </a:rPr>
              <a:t>Experiência do utilizador</a:t>
            </a:r>
            <a:endParaRPr lang="pt-pt" sz="1100" noProof="0" dirty="0">
              <a:latin typeface="+mj-lt"/>
              <a:ea typeface="Roboto Bold"/>
              <a:cs typeface="Roboto Bold"/>
            </a:endParaRPr>
          </a:p>
          <a:p>
            <a:pPr marL="198755" indent="-198755" algn="l" rtl="0"/>
            <a:r>
              <a:rPr lang="pt-pt" sz="1100" b="0" i="0" u="none" baseline="0" dirty="0"/>
              <a:t>Pontos de contacto em destaque</a:t>
            </a:r>
            <a:endParaRPr lang="pt-pt" sz="11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100" b="0" i="0" u="none" baseline="0" dirty="0"/>
              <a:t>Predefinições de limpeza personalizáveis com função de bloqueio*</a:t>
            </a:r>
            <a:endParaRPr lang="pt-pt" sz="11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100" b="0" i="0" u="none" baseline="0" dirty="0"/>
              <a:t>Pop-ups para necessidades de combustível e anti-pedras*</a:t>
            </a:r>
            <a:endParaRPr lang="pt-pt" sz="11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100" b="0" i="0" u="none" baseline="0" dirty="0"/>
              <a:t>Guias de manutenção de rotina* (patente pendente)</a:t>
            </a:r>
            <a:endParaRPr lang="pt-pt" sz="11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100" b="0" i="0" u="none" baseline="0" dirty="0"/>
              <a:t>Conectividade da aplicação para assistência </a:t>
            </a:r>
            <a:endParaRPr lang="pt-pt" sz="1100" noProof="0" dirty="0">
              <a:ea typeface="Roboto Light"/>
              <a:cs typeface="Roboto Light"/>
            </a:endParaRPr>
          </a:p>
          <a:p>
            <a:pPr marL="198755" indent="-198755" algn="l" rtl="0"/>
            <a:endParaRPr lang="pt-pt" sz="1100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r>
              <a:rPr lang="pt-pt" sz="1100" b="0" i="0" u="none" baseline="0" dirty="0">
                <a:latin typeface="+mj-lt"/>
                <a:ea typeface="+mj-lt"/>
                <a:cs typeface="+mj-lt"/>
              </a:rPr>
              <a:t>Design moderno</a:t>
            </a:r>
            <a:endParaRPr lang="pt-pt" sz="1100" noProof="0" dirty="0">
              <a:latin typeface="+mj-lt"/>
              <a:ea typeface="Roboto Bold"/>
              <a:cs typeface="Roboto Bold"/>
            </a:endParaRPr>
          </a:p>
          <a:p>
            <a:pPr marL="198755" indent="-198755" algn="l" rtl="0"/>
            <a:r>
              <a:rPr lang="pt-pt" sz="1100" b="0" i="0" u="none" baseline="0" dirty="0"/>
              <a:t>Cores Nilfisk atualizadas</a:t>
            </a:r>
            <a:endParaRPr lang="pt-pt" sz="11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100" b="0" i="0" u="none" baseline="0" dirty="0"/>
              <a:t>Embalagem melhorada (PAC)</a:t>
            </a:r>
            <a:endParaRPr lang="pt-pt" sz="1100" noProof="0" dirty="0">
              <a:ea typeface="Roboto Light"/>
              <a:cs typeface="Roboto Light"/>
            </a:endParaRPr>
          </a:p>
          <a:p>
            <a:pPr marL="198755" indent="-198755" algn="l" rtl="0"/>
            <a:endParaRPr lang="pt-pt" sz="1100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r>
              <a:rPr lang="pt-pt" sz="1100" b="0" i="0" u="none" baseline="0" dirty="0">
                <a:latin typeface="+mj-lt"/>
                <a:ea typeface="+mj-lt"/>
                <a:cs typeface="+mj-lt"/>
              </a:rPr>
              <a:t>Ofertas específicas de funcionalidades</a:t>
            </a:r>
            <a:endParaRPr lang="pt-pt" sz="1100" noProof="0" dirty="0">
              <a:latin typeface="+mj-lt"/>
              <a:ea typeface="Roboto Bold"/>
              <a:cs typeface="Roboto Bold"/>
            </a:endParaRPr>
          </a:p>
          <a:p>
            <a:pPr marL="198755" indent="-198755" algn="l" rtl="0"/>
            <a:r>
              <a:rPr lang="pt-pt" sz="1100" b="0" i="0" u="none" baseline="0" dirty="0"/>
              <a:t>Conjunto de características de especificações Advanced </a:t>
            </a:r>
            <a:endParaRPr lang="pt-pt" sz="11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100" b="0" i="0" u="none" baseline="0" dirty="0"/>
              <a:t>Conjunto de características de especificações Standard </a:t>
            </a:r>
            <a:endParaRPr lang="pt-pt" sz="1100" noProof="0" dirty="0">
              <a:ea typeface="Roboto Light"/>
              <a:cs typeface="Roboto Light"/>
            </a:endParaRP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524568A-B73B-20D0-1ADC-75EB09F2926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B5F3420-F466-425E-FA0B-0DAD995564B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3</a:t>
            </a:fld>
            <a:endParaRPr lang="pt-pt" noProof="0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62686E27-0D40-C5FA-77B2-30929EE455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141064"/>
            <a:ext cx="5507038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Advanced &amp; Standard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856E51A6-E66C-D855-8EF6-CBB4549C89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43717"/>
            <a:ext cx="5503134" cy="872194"/>
          </a:xfrm>
        </p:spPr>
        <p:txBody>
          <a:bodyPr/>
          <a:lstStyle/>
          <a:p>
            <a:pPr algn="l" rtl="0"/>
            <a:r>
              <a:rPr lang="pt-pt" b="1" i="0" u="none" baseline="0" dirty="0"/>
              <a:t>Novas ofertas de gama e atualizações </a:t>
            </a:r>
          </a:p>
        </p:txBody>
      </p:sp>
      <p:sp>
        <p:nvSpPr>
          <p:cNvPr id="13" name="Pladsholder til indhold 3">
            <a:extLst>
              <a:ext uri="{FF2B5EF4-FFF2-40B4-BE49-F238E27FC236}">
                <a16:creationId xmlns:a16="http://schemas.microsoft.com/office/drawing/2014/main" id="{9A4A9332-BB0D-E828-6E48-251704C2E3A2}"/>
              </a:ext>
            </a:extLst>
          </p:cNvPr>
          <p:cNvSpPr txBox="1">
            <a:spLocks/>
          </p:cNvSpPr>
          <p:nvPr/>
        </p:nvSpPr>
        <p:spPr>
          <a:xfrm>
            <a:off x="479425" y="6155029"/>
            <a:ext cx="5453230" cy="153889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pt-pt" sz="900" b="0" i="0" u="none" baseline="0" dirty="0"/>
              <a:t>* Apenas em máquinas Advanced</a:t>
            </a:r>
          </a:p>
        </p:txBody>
      </p:sp>
    </p:spTree>
    <p:extLst>
      <p:ext uri="{BB962C8B-B14F-4D97-AF65-F5344CB8AC3E}">
        <p14:creationId xmlns:p14="http://schemas.microsoft.com/office/powerpoint/2010/main" val="2482917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04D647-C8D8-5325-51A9-699D3EB00F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think-cell data - do not delete" hidden="1">
            <a:extLst>
              <a:ext uri="{FF2B5EF4-FFF2-40B4-BE49-F238E27FC236}">
                <a16:creationId xmlns:a16="http://schemas.microsoft.com/office/drawing/2014/main" id="{01C781F5-FC37-1A6D-D72D-966C66D511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C781F5-FC37-1A6D-D72D-966C66D51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A1CAC0-A35E-7893-9F3F-32DAE0C6E3B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AE0C9C-F723-A26B-B550-3EF0D580E92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t-pt" sz="1000" b="0" i="0" u="none" strike="noStrike" kern="1200" cap="none" spc="0" normalizeH="0" baseline="0" noProof="0" dirty="0">
              <a:ln>
                <a:noFill/>
              </a:ln>
              <a:solidFill>
                <a:srgbClr val="B3BBC5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1A61FC4-FB5E-57E4-03ED-587DE78F5019}"/>
              </a:ext>
            </a:extLst>
          </p:cNvPr>
          <p:cNvCxnSpPr>
            <a:cxnSpLocks/>
          </p:cNvCxnSpPr>
          <p:nvPr/>
        </p:nvCxnSpPr>
        <p:spPr>
          <a:xfrm>
            <a:off x="479425" y="3696211"/>
            <a:ext cx="108478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779DC80B-3F0A-69F2-A2DE-02058F992AF0}"/>
              </a:ext>
            </a:extLst>
          </p:cNvPr>
          <p:cNvSpPr txBox="1"/>
          <p:nvPr/>
        </p:nvSpPr>
        <p:spPr>
          <a:xfrm>
            <a:off x="5576230" y="3252843"/>
            <a:ext cx="950901" cy="443368"/>
          </a:xfrm>
          <a:prstGeom prst="rect">
            <a:avLst/>
          </a:prstGeom>
          <a:noFill/>
        </p:spPr>
        <p:txBody>
          <a:bodyPr wrap="none" bIns="180000" rtlCol="0">
            <a:spAutoFit/>
          </a:bodyPr>
          <a:lstStyle/>
          <a:p>
            <a:pPr algn="l" rtl="0"/>
            <a:r>
              <a:rPr lang="pt-pt" sz="1400" b="0" i="0" u="none" baseline="0"/>
              <a:t>Compactas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3AE2088-9B14-5106-A99C-7BED6A10644A}"/>
              </a:ext>
            </a:extLst>
          </p:cNvPr>
          <p:cNvSpPr txBox="1"/>
          <p:nvPr/>
        </p:nvSpPr>
        <p:spPr>
          <a:xfrm>
            <a:off x="7518278" y="3252843"/>
            <a:ext cx="830677" cy="443368"/>
          </a:xfrm>
          <a:prstGeom prst="rect">
            <a:avLst/>
          </a:prstGeom>
          <a:noFill/>
        </p:spPr>
        <p:txBody>
          <a:bodyPr wrap="none" bIns="180000" rtlCol="0">
            <a:spAutoFit/>
          </a:bodyPr>
          <a:lstStyle/>
          <a:p>
            <a:pPr algn="l" rtl="0"/>
            <a:r>
              <a:rPr lang="pt-pt" sz="1400" b="0" i="0" u="none" baseline="0"/>
              <a:t>Média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6609425-9B7F-7105-88F3-0E68E45A65A0}"/>
              </a:ext>
            </a:extLst>
          </p:cNvPr>
          <p:cNvSpPr txBox="1"/>
          <p:nvPr/>
        </p:nvSpPr>
        <p:spPr>
          <a:xfrm>
            <a:off x="479425" y="1293589"/>
            <a:ext cx="4666485" cy="2402622"/>
          </a:xfrm>
          <a:prstGeom prst="rect">
            <a:avLst/>
          </a:prstGeom>
          <a:noFill/>
        </p:spPr>
        <p:txBody>
          <a:bodyPr wrap="square" lIns="0" tIns="0" rIns="0" bIns="180000" rtlCol="0">
            <a:spAutoFit/>
          </a:bodyPr>
          <a:lstStyle/>
          <a:p>
            <a:pPr algn="l" rtl="0"/>
            <a:r>
              <a:rPr lang="pt-pt" sz="14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Gama Advanced - MH35-85</a:t>
            </a:r>
          </a:p>
          <a:p>
            <a:endParaRPr lang="pt-pt" sz="1400" noProof="0" dirty="0"/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Caldeira energeticamente eficiente (~96% de eficiência)</a:t>
            </a:r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Compatível com biocombustível</a:t>
            </a:r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Novas cores (PBLS)</a:t>
            </a:r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Menores emissões de C0</a:t>
            </a:r>
            <a:r>
              <a:rPr lang="pt-pt" sz="1400" b="0" i="0" u="none" baseline="-25000" dirty="0"/>
              <a:t>2</a:t>
            </a:r>
            <a:r>
              <a:rPr lang="pt-pt" sz="1400" b="0" i="0" u="none" baseline="0" dirty="0"/>
              <a:t> (até 80%)</a:t>
            </a:r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Interface do utilizador personalizável</a:t>
            </a:r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Funcionalidades completas</a:t>
            </a:r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Funcionalidades de serviço melhorada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FCB4001-09DC-3037-8060-D472048D4B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506081" cy="388013"/>
          </a:xfrm>
        </p:spPr>
        <p:txBody>
          <a:bodyPr anchor="t">
            <a:noAutofit/>
          </a:bodyPr>
          <a:lstStyle/>
          <a:p>
            <a:pPr algn="l" rtl="0"/>
            <a:r>
              <a:rPr lang="pt-pt" b="1" i="0" u="none" baseline="0"/>
              <a:t>Ofertas Advanced e Standard </a:t>
            </a:r>
          </a:p>
        </p:txBody>
      </p:sp>
      <p:sp>
        <p:nvSpPr>
          <p:cNvPr id="13" name="TextBox 48">
            <a:extLst>
              <a:ext uri="{FF2B5EF4-FFF2-40B4-BE49-F238E27FC236}">
                <a16:creationId xmlns:a16="http://schemas.microsoft.com/office/drawing/2014/main" id="{6C3377A9-50DE-4DBA-EEB8-60B316754C4A}"/>
              </a:ext>
            </a:extLst>
          </p:cNvPr>
          <p:cNvSpPr txBox="1"/>
          <p:nvPr/>
        </p:nvSpPr>
        <p:spPr>
          <a:xfrm>
            <a:off x="479424" y="3995828"/>
            <a:ext cx="3932025" cy="22639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pt-pt" sz="1400" b="0" i="0" u="none" baseline="0" dirty="0">
                <a:latin typeface="+mj-lt"/>
                <a:ea typeface="+mj-lt"/>
                <a:cs typeface="+mj-lt"/>
              </a:rPr>
              <a:t>Gama standard - MH20-70</a:t>
            </a:r>
          </a:p>
          <a:p>
            <a:pPr algn="l" rtl="0">
              <a:lnSpc>
                <a:spcPct val="120000"/>
              </a:lnSpc>
            </a:pPr>
            <a:endParaRPr lang="pt-pt" sz="1400" noProof="0" dirty="0"/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Caldeira EcoPower™r (~92% de eficiência)</a:t>
            </a:r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Compatível com biocombustível</a:t>
            </a:r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Novas cores (PBLS)</a:t>
            </a:r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Menores emissões de C0</a:t>
            </a:r>
            <a:r>
              <a:rPr lang="pt-pt" sz="1400" b="0" i="0" u="none" baseline="-25000" dirty="0"/>
              <a:t>2</a:t>
            </a:r>
            <a:r>
              <a:rPr lang="pt-pt" sz="1400" b="0" i="0" u="none" baseline="0" dirty="0"/>
              <a:t> (até 80%)</a:t>
            </a:r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Funções focadas</a:t>
            </a:r>
          </a:p>
          <a:p>
            <a:pPr marL="180000" indent="-1800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Preço mais baixo</a:t>
            </a:r>
          </a:p>
          <a:p>
            <a:pPr marL="180000" indent="-180000" algn="l" rtl="0">
              <a:lnSpc>
                <a:spcPct val="120000"/>
              </a:lnSpc>
            </a:pPr>
            <a:endParaRPr lang="pt-pt" sz="1400" noProof="0" dirty="0"/>
          </a:p>
        </p:txBody>
      </p:sp>
      <p:sp>
        <p:nvSpPr>
          <p:cNvPr id="19" name="TextBox 44">
            <a:extLst>
              <a:ext uri="{FF2B5EF4-FFF2-40B4-BE49-F238E27FC236}">
                <a16:creationId xmlns:a16="http://schemas.microsoft.com/office/drawing/2014/main" id="{93AFCDF6-3679-F105-743C-526CFF498160}"/>
              </a:ext>
            </a:extLst>
          </p:cNvPr>
          <p:cNvSpPr txBox="1"/>
          <p:nvPr/>
        </p:nvSpPr>
        <p:spPr>
          <a:xfrm>
            <a:off x="9599190" y="3252843"/>
            <a:ext cx="906017" cy="443368"/>
          </a:xfrm>
          <a:prstGeom prst="rect">
            <a:avLst/>
          </a:prstGeom>
          <a:noFill/>
        </p:spPr>
        <p:txBody>
          <a:bodyPr wrap="none" bIns="180000" rtlCol="0">
            <a:spAutoFit/>
          </a:bodyPr>
          <a:lstStyle/>
          <a:p>
            <a:pPr algn="l" rtl="0"/>
            <a:r>
              <a:rPr lang="pt-pt" sz="1400" b="0" i="0" u="none" baseline="0"/>
              <a:t>Premiu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BFDA597-5C18-B1C7-7558-9B28485BC0D5}"/>
              </a:ext>
            </a:extLst>
          </p:cNvPr>
          <p:cNvSpPr txBox="1"/>
          <p:nvPr/>
        </p:nvSpPr>
        <p:spPr>
          <a:xfrm>
            <a:off x="5620549" y="5816413"/>
            <a:ext cx="950901" cy="443368"/>
          </a:xfrm>
          <a:prstGeom prst="rect">
            <a:avLst/>
          </a:prstGeom>
          <a:noFill/>
        </p:spPr>
        <p:txBody>
          <a:bodyPr wrap="none" bIns="180000" rtlCol="0">
            <a:spAutoFit/>
          </a:bodyPr>
          <a:lstStyle/>
          <a:p>
            <a:pPr algn="l" rtl="0"/>
            <a:r>
              <a:rPr lang="pt-pt" sz="1400" b="0" i="0" u="none" baseline="0" dirty="0"/>
              <a:t>Compactas </a:t>
            </a:r>
          </a:p>
        </p:txBody>
      </p:sp>
      <p:pic>
        <p:nvPicPr>
          <p:cNvPr id="28" name="Picture 27" descr="A machine with wheels and a hose&#10;&#10;AI-generated content may be incorrect.">
            <a:extLst>
              <a:ext uri="{FF2B5EF4-FFF2-40B4-BE49-F238E27FC236}">
                <a16:creationId xmlns:a16="http://schemas.microsoft.com/office/drawing/2014/main" id="{46E244B8-CD2B-885C-FA3E-852E99F741C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1603" y="3696211"/>
            <a:ext cx="2308466" cy="243509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4A05B23-ACCE-3C20-5A57-B647928AA1F3}"/>
              </a:ext>
            </a:extLst>
          </p:cNvPr>
          <p:cNvSpPr txBox="1"/>
          <p:nvPr/>
        </p:nvSpPr>
        <p:spPr>
          <a:xfrm>
            <a:off x="7743742" y="5816413"/>
            <a:ext cx="830677" cy="443368"/>
          </a:xfrm>
          <a:prstGeom prst="rect">
            <a:avLst/>
          </a:prstGeom>
          <a:noFill/>
        </p:spPr>
        <p:txBody>
          <a:bodyPr wrap="none" bIns="180000" rtlCol="0">
            <a:spAutoFit/>
          </a:bodyPr>
          <a:lstStyle/>
          <a:p>
            <a:pPr algn="l" rtl="0"/>
            <a:r>
              <a:rPr lang="pt-pt" sz="1400" b="0" i="0" u="none" baseline="0" dirty="0"/>
              <a:t>Média</a:t>
            </a:r>
          </a:p>
        </p:txBody>
      </p:sp>
      <p:sp>
        <p:nvSpPr>
          <p:cNvPr id="15" name="TextBox 44">
            <a:extLst>
              <a:ext uri="{FF2B5EF4-FFF2-40B4-BE49-F238E27FC236}">
                <a16:creationId xmlns:a16="http://schemas.microsoft.com/office/drawing/2014/main" id="{484377F2-434E-6E79-977C-05708185A64B}"/>
              </a:ext>
            </a:extLst>
          </p:cNvPr>
          <p:cNvSpPr txBox="1"/>
          <p:nvPr/>
        </p:nvSpPr>
        <p:spPr>
          <a:xfrm>
            <a:off x="9746711" y="5816413"/>
            <a:ext cx="906017" cy="443368"/>
          </a:xfrm>
          <a:prstGeom prst="rect">
            <a:avLst/>
          </a:prstGeom>
          <a:noFill/>
        </p:spPr>
        <p:txBody>
          <a:bodyPr wrap="none" bIns="180000" rtlCol="0">
            <a:spAutoFit/>
          </a:bodyPr>
          <a:lstStyle/>
          <a:p>
            <a:pPr algn="l" rtl="0"/>
            <a:r>
              <a:rPr lang="pt-pt" sz="1400" b="0" i="0" u="none" baseline="0" dirty="0"/>
              <a:t>Premium</a:t>
            </a:r>
          </a:p>
        </p:txBody>
      </p:sp>
      <p:pic>
        <p:nvPicPr>
          <p:cNvPr id="9" name="Picture 8" descr="A black machine with wheels&#10;&#10;AI-generated content may be incorrect.">
            <a:extLst>
              <a:ext uri="{FF2B5EF4-FFF2-40B4-BE49-F238E27FC236}">
                <a16:creationId xmlns:a16="http://schemas.microsoft.com/office/drawing/2014/main" id="{2269CFC3-EEE1-7614-1AAF-8318D8C6D0D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5357" y="1214415"/>
            <a:ext cx="1736518" cy="2068519"/>
          </a:xfrm>
          <a:prstGeom prst="rect">
            <a:avLst/>
          </a:prstGeom>
        </p:spPr>
      </p:pic>
      <p:pic>
        <p:nvPicPr>
          <p:cNvPr id="18" name="Picture 17" descr="A machine with wheels on it&#10;&#10;AI-generated content may be incorrect.">
            <a:extLst>
              <a:ext uri="{FF2B5EF4-FFF2-40B4-BE49-F238E27FC236}">
                <a16:creationId xmlns:a16="http://schemas.microsoft.com/office/drawing/2014/main" id="{241AE0DA-2E15-6C1F-46B2-4C8D550A31AD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9275" y="895990"/>
            <a:ext cx="2515671" cy="2653661"/>
          </a:xfrm>
          <a:prstGeom prst="rect">
            <a:avLst/>
          </a:prstGeom>
        </p:spPr>
      </p:pic>
      <p:pic>
        <p:nvPicPr>
          <p:cNvPr id="22" name="Picture 21" descr="A black and blue machine with wheels&#10;&#10;AI-generated content may be incorrect.">
            <a:extLst>
              <a:ext uri="{FF2B5EF4-FFF2-40B4-BE49-F238E27FC236}">
                <a16:creationId xmlns:a16="http://schemas.microsoft.com/office/drawing/2014/main" id="{4228A929-BE71-663F-03C1-0145F2FE777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8100" y="3842771"/>
            <a:ext cx="1736518" cy="2020557"/>
          </a:xfrm>
          <a:prstGeom prst="rect">
            <a:avLst/>
          </a:prstGeom>
        </p:spPr>
      </p:pic>
      <p:pic>
        <p:nvPicPr>
          <p:cNvPr id="27" name="Picture 26" descr="A machine with wheels and a hose&#10;&#10;AI-generated content may be incorrect.">
            <a:extLst>
              <a:ext uri="{FF2B5EF4-FFF2-40B4-BE49-F238E27FC236}">
                <a16:creationId xmlns:a16="http://schemas.microsoft.com/office/drawing/2014/main" id="{C9615DEC-AC9E-4BBB-B51D-138D1AC96AF2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4901" y="3783856"/>
            <a:ext cx="2055159" cy="2167889"/>
          </a:xfrm>
          <a:prstGeom prst="rect">
            <a:avLst/>
          </a:prstGeom>
        </p:spPr>
      </p:pic>
      <p:pic>
        <p:nvPicPr>
          <p:cNvPr id="4" name="Picture 3" descr="A black machine with wheels&#10;&#10;AI-generated content may be incorrect.">
            <a:extLst>
              <a:ext uri="{FF2B5EF4-FFF2-40B4-BE49-F238E27FC236}">
                <a16:creationId xmlns:a16="http://schemas.microsoft.com/office/drawing/2014/main" id="{FC36CEC7-FDA6-D06C-A6AA-8815DA8B5D3D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4999" y="1296057"/>
            <a:ext cx="1736518" cy="1986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489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1150AB-5102-03BE-09AD-CE32654AB6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02E520A-6272-926D-EFBE-08FDA64E402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E591F1-B4FF-920A-A7D3-EC8EA6896C6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5</a:t>
            </a:fld>
            <a:endParaRPr lang="pt-pt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FF8538-120B-AF64-1ED6-E90D367C70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mparação das funcionalidad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72529AD-D16C-62AA-58C1-A504E881A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Advanced vs. Standard</a:t>
            </a:r>
          </a:p>
        </p:txBody>
      </p:sp>
      <p:graphicFrame>
        <p:nvGraphicFramePr>
          <p:cNvPr id="10" name="Tabella 17">
            <a:extLst>
              <a:ext uri="{FF2B5EF4-FFF2-40B4-BE49-F238E27FC236}">
                <a16:creationId xmlns:a16="http://schemas.microsoft.com/office/drawing/2014/main" id="{EE68B996-B7DB-4B6F-3753-B48ED09A0A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7557772"/>
              </p:ext>
            </p:extLst>
          </p:nvPr>
        </p:nvGraphicFramePr>
        <p:xfrm>
          <a:off x="481377" y="1162724"/>
          <a:ext cx="11232000" cy="4821401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40320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60000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360000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</a:tblGrid>
              <a:tr h="26545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/>
                          <a:ea typeface="+mn-ea"/>
                          <a:cs typeface="+mn-cs"/>
                          <a:sym typeface=""/>
                        </a:rPr>
                        <a:t>MH20-70</a:t>
                      </a: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/>
                          <a:ea typeface="+mn-ea"/>
                          <a:cs typeface="+mn-cs"/>
                        </a:rPr>
                        <a:t> - Standard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/>
                          <a:ea typeface="+mn-ea"/>
                          <a:cs typeface="+mn-cs"/>
                          <a:sym typeface=""/>
                        </a:rPr>
                        <a:t>MH35-85</a:t>
                      </a: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/>
                          <a:ea typeface="+mn-ea"/>
                          <a:cs typeface="+mn-cs"/>
                        </a:rPr>
                        <a:t> - Advanced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Caldeira energeticamente eficiente (caldeira nova)</a:t>
                      </a:r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100" b="0" i="0" u="none" strike="noStrike" noProof="0" dirty="0">
                        <a:solidFill>
                          <a:srgbClr val="28313F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0" i="0" u="none" strike="noStrike" noProof="0" dirty="0">
                        <a:solidFill>
                          <a:srgbClr val="28313F"/>
                        </a:solidFill>
                        <a:effectLst/>
                        <a:latin typeface="Segoe MDL2 Asset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Caldeira EcoPower™ 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Segoe MDL2 Assets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0" marR="0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100" b="0" i="0" u="none" baseline="0"/>
                        <a:t>Compatível com biocombustível (B7,</a:t>
                      </a:r>
                      <a:r>
                        <a:rPr lang="pt-pt" sz="1100" b="0" i="0" u="none" strike="noStrike" baseline="0">
                          <a:effectLst/>
                        </a:rPr>
                        <a:t>B10, B20, B30 e XTL/HVO)</a:t>
                      </a:r>
                      <a:endParaRPr lang="pt-pt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Segoe MDL2 Assets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Segoe MDL2 Assets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Sistema de detergente interno 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Segoe MDL2 Assets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Lança universal 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Segoe MDL2 Asset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1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Lança de pressão ajustável (Tornado)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Segoe MDL2 Assets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Interface do utilizador atualizada 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Segoe MDL2 Asset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Segoe MDL2 Assets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Bloquear a máquina para definições específicas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Segoe MDL2 Assets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Indicador de manutenção e janelas pop-up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Segoe MDL2 Assets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Diagnóstico da máquina e resolução de problemas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Segoe MDL2 Assets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819214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Sensor de combustível 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Segoe MDL2 Asset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Segoe MDL2 Asset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191312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Sensor de chama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Segoe MDL2 Assets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527912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Sistema anti-pedra 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Segoe MDL2 Assets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677417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Vaporização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Segoe MDL2 Assets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4958639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*Enrolador de mangueira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Segoe MDL2 Assets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*Pistões cerâmicos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Segoe MDL2 Assets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Segoe MDL2 Assets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1643813"/>
                  </a:ext>
                </a:extLst>
              </a:tr>
              <a:tr h="267997">
                <a:tc>
                  <a:txBody>
                    <a:bodyPr/>
                    <a:lstStyle/>
                    <a:p>
                      <a:pPr algn="l" rtl="0"/>
                      <a:r>
                        <a:rPr lang="pt-pt" sz="1100" b="0" i="0" u="none" baseline="0"/>
                        <a:t>*Fluxo ativado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Segoe MDL2 Assets"/>
                        <a:ea typeface="+mn-ea"/>
                        <a:cs typeface="+mn-cs"/>
                      </a:endParaRPr>
                    </a:p>
                  </a:txBody>
                  <a:tcPr marL="0" marR="0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Segoe MDL2 Assets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  <p:sp>
        <p:nvSpPr>
          <p:cNvPr id="8" name="Pladsholder til indhold 3">
            <a:extLst>
              <a:ext uri="{FF2B5EF4-FFF2-40B4-BE49-F238E27FC236}">
                <a16:creationId xmlns:a16="http://schemas.microsoft.com/office/drawing/2014/main" id="{6A4948CF-09F7-3A5D-62A5-99926F34D185}"/>
              </a:ext>
            </a:extLst>
          </p:cNvPr>
          <p:cNvSpPr txBox="1">
            <a:spLocks/>
          </p:cNvSpPr>
          <p:nvPr/>
        </p:nvSpPr>
        <p:spPr>
          <a:xfrm>
            <a:off x="479425" y="6155029"/>
            <a:ext cx="5453230" cy="153889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pt-pt" sz="900" b="0" i="0" u="none" baseline="0"/>
              <a:t>*Em máquinas selecionadas </a:t>
            </a:r>
          </a:p>
        </p:txBody>
      </p:sp>
    </p:spTree>
    <p:extLst>
      <p:ext uri="{BB962C8B-B14F-4D97-AF65-F5344CB8AC3E}">
        <p14:creationId xmlns:p14="http://schemas.microsoft.com/office/powerpoint/2010/main" val="3415443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F9AC11-C7C1-5137-9CA4-2B996F618B2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087655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r>
              <a:rPr lang="pt-pt" b="0" i="0" u="none" baseline="0"/>
              <a:t>CONFIDENCIAL D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B8F385-614A-58B4-7751-8B0EE515A53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479426" y="6529068"/>
            <a:ext cx="270170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fld id="{6C385236-B7BA-4938-9EA6-6DEC8CA653D7}" type="slidenum">
              <a:rPr/>
              <a:pPr>
                <a:spcAft>
                  <a:spcPts val="600"/>
                </a:spcAft>
              </a:pPr>
              <a:t>16</a:t>
            </a:fld>
            <a:endParaRPr lang="pt-pt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026C1B-7CAD-A9FE-B724-605DECABAE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 vert="horz" lIns="0" tIns="0" rIns="0" bIns="0" rtlCol="0" anchor="t">
            <a:normAutofit/>
          </a:bodyPr>
          <a:lstStyle/>
          <a:p>
            <a:pPr algn="l" rtl="0"/>
            <a:r>
              <a:rPr lang="pt-pt" b="0" i="0" u="none" baseline="0"/>
              <a:t>Gama Advanced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3D1433-8F76-AAB7-877C-8F6B7FD81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anchor="t">
            <a:noAutofit/>
          </a:bodyPr>
          <a:lstStyle/>
          <a:p>
            <a:pPr algn="l" rtl="0"/>
            <a:r>
              <a:rPr lang="pt-pt" b="1" i="0" u="none" baseline="0"/>
              <a:t>MH35-85</a:t>
            </a:r>
          </a:p>
        </p:txBody>
      </p:sp>
      <p:pic>
        <p:nvPicPr>
          <p:cNvPr id="9" name="Picture 8" descr="A machine with wheels on it&#10;&#10;AI-generated content may be incorrect.">
            <a:extLst>
              <a:ext uri="{FF2B5EF4-FFF2-40B4-BE49-F238E27FC236}">
                <a16:creationId xmlns:a16="http://schemas.microsoft.com/office/drawing/2014/main" id="{10F20B96-5E4E-80F4-FFF7-4D38B589DBE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783" y="1376776"/>
            <a:ext cx="4638384" cy="4903374"/>
          </a:xfrm>
          <a:prstGeom prst="rect">
            <a:avLst/>
          </a:prstGeom>
        </p:spPr>
      </p:pic>
      <p:pic>
        <p:nvPicPr>
          <p:cNvPr id="11" name="Picture 10" descr="A close-up of a device&#10;&#10;AI-generated content may be incorrect.">
            <a:extLst>
              <a:ext uri="{FF2B5EF4-FFF2-40B4-BE49-F238E27FC236}">
                <a16:creationId xmlns:a16="http://schemas.microsoft.com/office/drawing/2014/main" id="{2B509712-F195-1FC7-2D3F-B69BA3F2A4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8553" y="1925183"/>
            <a:ext cx="4903108" cy="3007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24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machine with wheels on it&#10;&#10;AI-generated content may be incorrect.">
            <a:extLst>
              <a:ext uri="{FF2B5EF4-FFF2-40B4-BE49-F238E27FC236}">
                <a16:creationId xmlns:a16="http://schemas.microsoft.com/office/drawing/2014/main" id="{3E6CB82D-94CD-FFA5-E5A3-8BC70AE9B77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5926" y="895992"/>
            <a:ext cx="5572741" cy="5801446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A069F36-0ECE-4449-5823-9A64592510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Vantagens do produt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F29DE9E-357C-4AC4-1132-D8B55C40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35-8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950DB-5800-BF60-59A7-C02B4F557D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97439-FCED-FE1F-BD98-DD00637C02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7</a:t>
            </a:fld>
            <a:endParaRPr lang="pt-pt" noProof="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3DB031-D64E-8EAD-261B-B6C3861CEEC6}"/>
              </a:ext>
            </a:extLst>
          </p:cNvPr>
          <p:cNvSpPr/>
          <p:nvPr/>
        </p:nvSpPr>
        <p:spPr>
          <a:xfrm>
            <a:off x="479421" y="1439742"/>
            <a:ext cx="4420569" cy="483081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Roboto Medium" panose="02000000000000000000" pitchFamily="2" charset="0"/>
              </a:rPr>
              <a:t>Caixa de armazenamento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Armazene as ferramentas ou no porta-luvas ou nas superfícies texturadas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8B97BA7-51E7-2099-AF08-192D4669682B}"/>
              </a:ext>
            </a:extLst>
          </p:cNvPr>
          <p:cNvSpPr/>
          <p:nvPr/>
        </p:nvSpPr>
        <p:spPr>
          <a:xfrm>
            <a:off x="479422" y="2197983"/>
            <a:ext cx="3003556" cy="483081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Roboto Medium" panose="02000000000000000000" pitchFamily="2" charset="0"/>
              </a:rPr>
              <a:t>Mangueira com armadura de aço</a:t>
            </a:r>
            <a:br>
              <a:rPr lang="pt-pt" sz="1100"/>
            </a:br>
            <a:r>
              <a:rPr lang="pt-pt" sz="1100" b="0" i="0" u="none" baseline="0"/>
              <a:t>Mangueira durável e flexível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998A648-00F5-CFE4-F05D-ED8E8755E54B}"/>
              </a:ext>
            </a:extLst>
          </p:cNvPr>
          <p:cNvSpPr/>
          <p:nvPr/>
        </p:nvSpPr>
        <p:spPr>
          <a:xfrm>
            <a:off x="479422" y="3101800"/>
            <a:ext cx="3175193" cy="686213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Roboto Medium" panose="02000000000000000000" pitchFamily="2" charset="0"/>
              </a:rPr>
              <a:t>Sensor de chama atualizado 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Deteta chamas, evitando o alagamento indesejado da caldeira quando em modo estacionário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0764611-337F-9EF3-4A28-7506ED623C20}"/>
              </a:ext>
            </a:extLst>
          </p:cNvPr>
          <p:cNvSpPr/>
          <p:nvPr/>
        </p:nvSpPr>
        <p:spPr>
          <a:xfrm>
            <a:off x="422116" y="5237842"/>
            <a:ext cx="3232499" cy="889346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Roboto Medium" panose="02000000000000000000" pitchFamily="2" charset="0"/>
              </a:rPr>
              <a:t>Lança Tornado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Lança dupla com ajuste de pressão. Realize o trabalho com um bocal de alta eficiência ou reduza a pressão para enxaguar ou evitar salpicos.</a:t>
            </a:r>
          </a:p>
        </p:txBody>
      </p:sp>
      <p:cxnSp>
        <p:nvCxnSpPr>
          <p:cNvPr id="46" name="Straight Arrow Connector 38">
            <a:extLst>
              <a:ext uri="{FF2B5EF4-FFF2-40B4-BE49-F238E27FC236}">
                <a16:creationId xmlns:a16="http://schemas.microsoft.com/office/drawing/2014/main" id="{FEFA5BFC-0DB4-D39C-001B-3E056E9047F6}"/>
              </a:ext>
            </a:extLst>
          </p:cNvPr>
          <p:cNvCxnSpPr>
            <a:cxnSpLocks/>
          </p:cNvCxnSpPr>
          <p:nvPr/>
        </p:nvCxnSpPr>
        <p:spPr>
          <a:xfrm>
            <a:off x="475521" y="2006762"/>
            <a:ext cx="4667458" cy="12700"/>
          </a:xfrm>
          <a:prstGeom prst="bentConnector3">
            <a:avLst>
              <a:gd name="adj1" fmla="val 5358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4C6567FA-7D24-5AEF-86EE-7973AA9045AD}"/>
              </a:ext>
            </a:extLst>
          </p:cNvPr>
          <p:cNvSpPr/>
          <p:nvPr/>
        </p:nvSpPr>
        <p:spPr>
          <a:xfrm>
            <a:off x="7718323" y="5394726"/>
            <a:ext cx="4065196" cy="483081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Roboto Medium" panose="02000000000000000000" pitchFamily="2" charset="0"/>
              </a:rPr>
              <a:t>Ranhuras para empilhador </a:t>
            </a:r>
            <a:br>
              <a:rPr lang="pt-pt" sz="1100" dirty="0"/>
            </a:br>
            <a:r>
              <a:rPr lang="pt-pt" sz="1100" b="0" i="0" u="none" baseline="0" dirty="0"/>
              <a:t>Eleve ou mova a máquina de forma estável com um empilhador 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D4B4397-88CC-B2C5-A45F-4DC1D17B5F38}"/>
              </a:ext>
            </a:extLst>
          </p:cNvPr>
          <p:cNvSpPr/>
          <p:nvPr/>
        </p:nvSpPr>
        <p:spPr>
          <a:xfrm>
            <a:off x="8772807" y="1446682"/>
            <a:ext cx="2937815" cy="686213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Roboto Medium" panose="02000000000000000000" pitchFamily="2" charset="0"/>
              </a:rPr>
              <a:t>Pistola Ergo 2000 com acoplamento rápido </a:t>
            </a:r>
            <a:br>
              <a:rPr lang="pt-pt" sz="1100"/>
            </a:br>
            <a:r>
              <a:rPr lang="pt-pt" sz="1100" b="0" i="0" u="none" baseline="0"/>
              <a:t>Conceito de acessórios ergonómicos que </a:t>
            </a:r>
          </a:p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melhora o manuseamento e reduz o esforço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E80E876-EFCE-3325-7351-3C5CE1FF9054}"/>
              </a:ext>
            </a:extLst>
          </p:cNvPr>
          <p:cNvSpPr/>
          <p:nvPr/>
        </p:nvSpPr>
        <p:spPr>
          <a:xfrm>
            <a:off x="8177498" y="2447459"/>
            <a:ext cx="3533125" cy="889346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Roboto Medium" panose="02000000000000000000" pitchFamily="2" charset="0"/>
              </a:rPr>
              <a:t>Interface do utilizador atualizada</a:t>
            </a:r>
            <a:br>
              <a:rPr lang="pt-pt" sz="1100" dirty="0"/>
            </a:br>
            <a:r>
              <a:rPr lang="pt-pt" sz="1100" b="0" i="0" u="none" baseline="0" dirty="0"/>
              <a:t>Personalize os modos de limpeza e bloqueie as máquinas </a:t>
            </a:r>
            <a:br>
              <a:rPr lang="pt-pt" sz="1100" dirty="0"/>
            </a:br>
            <a:r>
              <a:rPr lang="pt-pt" sz="1100" b="0" i="0" u="none" baseline="0" dirty="0"/>
              <a:t>nas definições. Obtenha informações sobre o estado da máquina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D877A1F-613C-C2FE-B423-7F70E5488D0C}"/>
              </a:ext>
            </a:extLst>
          </p:cNvPr>
          <p:cNvSpPr/>
          <p:nvPr/>
        </p:nvSpPr>
        <p:spPr>
          <a:xfrm>
            <a:off x="8772807" y="3448236"/>
            <a:ext cx="2937816" cy="889346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Roboto Medium" panose="02000000000000000000" pitchFamily="2" charset="0"/>
              </a:rPr>
              <a:t>Enrolador de mangueira</a:t>
            </a:r>
            <a:br>
              <a:rPr lang="pt-pt" sz="1100" dirty="0">
                <a:latin typeface="+mj-lt"/>
                <a:ea typeface="Roboto Medium" panose="02000000000000000000" pitchFamily="2" charset="0"/>
              </a:rPr>
            </a:br>
            <a:r>
              <a:rPr lang="pt-pt" sz="1100" b="0" i="0" u="none" baseline="0" dirty="0"/>
              <a:t>Enrolador de mangueira guiado para um enrolamento fácil com uma só mão </a:t>
            </a:r>
          </a:p>
          <a:p>
            <a:pPr algn="r" rtl="0">
              <a:lnSpc>
                <a:spcPct val="120000"/>
              </a:lnSpc>
            </a:pPr>
            <a:r>
              <a:rPr lang="pt-pt" sz="1100" b="0" i="0" u="none" baseline="0" dirty="0"/>
              <a:t>e armazenamento protegido da mangueira 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DB329AB-231D-1B77-9ACC-65D5F29D13D2}"/>
              </a:ext>
            </a:extLst>
          </p:cNvPr>
          <p:cNvSpPr/>
          <p:nvPr/>
        </p:nvSpPr>
        <p:spPr>
          <a:xfrm>
            <a:off x="428668" y="4174843"/>
            <a:ext cx="3438747" cy="483081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Roboto Medium" panose="02000000000000000000" pitchFamily="2" charset="0"/>
              </a:rPr>
              <a:t>Travão de estacionamento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Travão fácil de estacionar e mover com o pé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EF934E6-3209-AB8B-D801-208D63D8F447}"/>
              </a:ext>
            </a:extLst>
          </p:cNvPr>
          <p:cNvSpPr/>
          <p:nvPr/>
        </p:nvSpPr>
        <p:spPr>
          <a:xfrm>
            <a:off x="8386916" y="4449013"/>
            <a:ext cx="3323706" cy="686213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Roboto Medium" panose="02000000000000000000" pitchFamily="2" charset="0"/>
              </a:rPr>
              <a:t>Sistema de detergente de alta pressão interno</a:t>
            </a:r>
          </a:p>
          <a:p>
            <a:pPr algn="r" rtl="0">
              <a:lnSpc>
                <a:spcPct val="120000"/>
              </a:lnSpc>
            </a:pPr>
            <a:r>
              <a:rPr lang="pt-pt" sz="1100" b="0" i="0" u="none" baseline="0" dirty="0"/>
              <a:t>A dosagem precisa atualizada do detergente garante resultados de limpeza económicos e excelentes 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88827C2D-C99A-5FB2-323E-CFA00DD4EDD5}"/>
              </a:ext>
            </a:extLst>
          </p:cNvPr>
          <p:cNvCxnSpPr>
            <a:cxnSpLocks/>
          </p:cNvCxnSpPr>
          <p:nvPr/>
        </p:nvCxnSpPr>
        <p:spPr>
          <a:xfrm rot="10800000">
            <a:off x="4899990" y="1695236"/>
            <a:ext cx="6815100" cy="468286"/>
          </a:xfrm>
          <a:prstGeom prst="bentConnector3">
            <a:avLst>
              <a:gd name="adj1" fmla="val 5000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38">
            <a:extLst>
              <a:ext uri="{FF2B5EF4-FFF2-40B4-BE49-F238E27FC236}">
                <a16:creationId xmlns:a16="http://schemas.microsoft.com/office/drawing/2014/main" id="{EF2FA601-AE70-72A4-DE12-E89FC090C7DB}"/>
              </a:ext>
            </a:extLst>
          </p:cNvPr>
          <p:cNvCxnSpPr>
            <a:cxnSpLocks/>
          </p:cNvCxnSpPr>
          <p:nvPr/>
        </p:nvCxnSpPr>
        <p:spPr>
          <a:xfrm>
            <a:off x="488945" y="2607700"/>
            <a:ext cx="3830724" cy="57981"/>
          </a:xfrm>
          <a:prstGeom prst="bentConnector3">
            <a:avLst>
              <a:gd name="adj1" fmla="val 100282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38">
            <a:extLst>
              <a:ext uri="{FF2B5EF4-FFF2-40B4-BE49-F238E27FC236}">
                <a16:creationId xmlns:a16="http://schemas.microsoft.com/office/drawing/2014/main" id="{FE45CFEC-6C4D-DC68-8178-16AF44A226DB}"/>
              </a:ext>
            </a:extLst>
          </p:cNvPr>
          <p:cNvCxnSpPr>
            <a:cxnSpLocks/>
          </p:cNvCxnSpPr>
          <p:nvPr/>
        </p:nvCxnSpPr>
        <p:spPr>
          <a:xfrm flipV="1">
            <a:off x="69927" y="4375404"/>
            <a:ext cx="6134930" cy="1814267"/>
          </a:xfrm>
          <a:prstGeom prst="bentConnector3">
            <a:avLst>
              <a:gd name="adj1" fmla="val 61608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88">
            <a:extLst>
              <a:ext uri="{FF2B5EF4-FFF2-40B4-BE49-F238E27FC236}">
                <a16:creationId xmlns:a16="http://schemas.microsoft.com/office/drawing/2014/main" id="{C9AC49D3-C80A-3D20-7875-A60745C877CE}"/>
              </a:ext>
            </a:extLst>
          </p:cNvPr>
          <p:cNvCxnSpPr>
            <a:cxnSpLocks/>
          </p:cNvCxnSpPr>
          <p:nvPr/>
        </p:nvCxnSpPr>
        <p:spPr>
          <a:xfrm rot="10800000">
            <a:off x="5589171" y="1891944"/>
            <a:ext cx="6239706" cy="1364990"/>
          </a:xfrm>
          <a:prstGeom prst="bentConnector3">
            <a:avLst>
              <a:gd name="adj1" fmla="val 59297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88">
            <a:extLst>
              <a:ext uri="{FF2B5EF4-FFF2-40B4-BE49-F238E27FC236}">
                <a16:creationId xmlns:a16="http://schemas.microsoft.com/office/drawing/2014/main" id="{15DAD289-09B7-9B76-960D-8616323DE3E7}"/>
              </a:ext>
            </a:extLst>
          </p:cNvPr>
          <p:cNvCxnSpPr>
            <a:cxnSpLocks/>
          </p:cNvCxnSpPr>
          <p:nvPr/>
        </p:nvCxnSpPr>
        <p:spPr>
          <a:xfrm rot="10800000">
            <a:off x="7796989" y="3256936"/>
            <a:ext cx="3986530" cy="1020097"/>
          </a:xfrm>
          <a:prstGeom prst="bentConnector3">
            <a:avLst>
              <a:gd name="adj1" fmla="val 7244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88">
            <a:extLst>
              <a:ext uri="{FF2B5EF4-FFF2-40B4-BE49-F238E27FC236}">
                <a16:creationId xmlns:a16="http://schemas.microsoft.com/office/drawing/2014/main" id="{79FF6A1C-8780-49A8-E387-FC74D23360AB}"/>
              </a:ext>
            </a:extLst>
          </p:cNvPr>
          <p:cNvCxnSpPr>
            <a:cxnSpLocks/>
          </p:cNvCxnSpPr>
          <p:nvPr/>
        </p:nvCxnSpPr>
        <p:spPr>
          <a:xfrm rot="10800000">
            <a:off x="7867650" y="3676865"/>
            <a:ext cx="3845208" cy="1463374"/>
          </a:xfrm>
          <a:prstGeom prst="bentConnector3">
            <a:avLst>
              <a:gd name="adj1" fmla="val 9351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8">
            <a:extLst>
              <a:ext uri="{FF2B5EF4-FFF2-40B4-BE49-F238E27FC236}">
                <a16:creationId xmlns:a16="http://schemas.microsoft.com/office/drawing/2014/main" id="{33163BE7-F79E-B4DF-5734-8B18F518BF5C}"/>
              </a:ext>
            </a:extLst>
          </p:cNvPr>
          <p:cNvCxnSpPr>
            <a:cxnSpLocks/>
          </p:cNvCxnSpPr>
          <p:nvPr/>
        </p:nvCxnSpPr>
        <p:spPr>
          <a:xfrm flipV="1">
            <a:off x="363123" y="3129588"/>
            <a:ext cx="5601151" cy="658772"/>
          </a:xfrm>
          <a:prstGeom prst="bentConnector3">
            <a:avLst>
              <a:gd name="adj1" fmla="val 60357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38">
            <a:extLst>
              <a:ext uri="{FF2B5EF4-FFF2-40B4-BE49-F238E27FC236}">
                <a16:creationId xmlns:a16="http://schemas.microsoft.com/office/drawing/2014/main" id="{800DA95B-FAA1-7E9E-6D13-EC9E6BD6DD22}"/>
              </a:ext>
            </a:extLst>
          </p:cNvPr>
          <p:cNvCxnSpPr>
            <a:cxnSpLocks/>
          </p:cNvCxnSpPr>
          <p:nvPr/>
        </p:nvCxnSpPr>
        <p:spPr>
          <a:xfrm flipV="1">
            <a:off x="419493" y="4036007"/>
            <a:ext cx="4081337" cy="621917"/>
          </a:xfrm>
          <a:prstGeom prst="bentConnector3">
            <a:avLst>
              <a:gd name="adj1" fmla="val 7025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88">
            <a:extLst>
              <a:ext uri="{FF2B5EF4-FFF2-40B4-BE49-F238E27FC236}">
                <a16:creationId xmlns:a16="http://schemas.microsoft.com/office/drawing/2014/main" id="{99526C65-ACA3-40CD-B97F-E30F66781F85}"/>
              </a:ext>
            </a:extLst>
          </p:cNvPr>
          <p:cNvCxnSpPr>
            <a:cxnSpLocks/>
          </p:cNvCxnSpPr>
          <p:nvPr/>
        </p:nvCxnSpPr>
        <p:spPr>
          <a:xfrm flipH="1" flipV="1">
            <a:off x="8177498" y="5884552"/>
            <a:ext cx="3606021" cy="22858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453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6DD2A94E-6708-EBF6-4888-93EAA880EBF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087655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r>
              <a:rPr lang="pt-pt" b="0" i="0" u="none" baseline="0"/>
              <a:t>CONFIDENCIAL DA EMPRESA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ACDE239-48EB-97DD-2C71-95D19341448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479426" y="6529068"/>
            <a:ext cx="270170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fld id="{6C385236-B7BA-4938-9EA6-6DEC8CA653D7}" type="slidenum">
              <a:rPr/>
              <a:pPr>
                <a:spcAft>
                  <a:spcPts val="600"/>
                </a:spcAft>
              </a:pPr>
              <a:t>18</a:t>
            </a:fld>
            <a:endParaRPr lang="pt-pt" noProof="0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67C5442-2B4C-4278-9FAB-BBEA208FB9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 vert="horz" lIns="0" tIns="0" rIns="0" bIns="0" rtlCol="0" anchor="t">
            <a:normAutofit/>
          </a:bodyPr>
          <a:lstStyle/>
          <a:p>
            <a:pPr algn="l" rtl="0"/>
            <a:r>
              <a:rPr lang="pt-pt" b="0" i="0" u="none" baseline="0"/>
              <a:t>Digital simples</a:t>
            </a:r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81D98FB9-8E95-4544-7B4D-9E81B1AD3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anchor="t">
            <a:noAutofit/>
          </a:bodyPr>
          <a:lstStyle/>
          <a:p>
            <a:pPr algn="l" rtl="0"/>
            <a:r>
              <a:rPr lang="pt-pt" b="1" i="0" u="none" baseline="0"/>
              <a:t>Interface do utilizador atualizada</a:t>
            </a:r>
          </a:p>
        </p:txBody>
      </p:sp>
      <p:pic>
        <p:nvPicPr>
          <p:cNvPr id="10" name="Picture 9" descr="A close-up of a device&#10;&#10;AI-generated content may be incorrect.">
            <a:extLst>
              <a:ext uri="{FF2B5EF4-FFF2-40B4-BE49-F238E27FC236}">
                <a16:creationId xmlns:a16="http://schemas.microsoft.com/office/drawing/2014/main" id="{65CA3DBB-70E6-3C22-E650-FF1CFC0E7D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8553" y="1925183"/>
            <a:ext cx="4903108" cy="3007633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F5103EC-A405-4DC2-A248-70846EAD9DAD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vert="horz" lIns="216000" tIns="216000" rIns="180000" bIns="216000" rtlCol="0" anchor="t">
            <a:noAutofit/>
          </a:bodyPr>
          <a:lstStyle/>
          <a:p>
            <a:pPr marL="171450" indent="-171450" algn="l" rtl="0">
              <a:spcBef>
                <a:spcPts val="1000"/>
              </a:spcBef>
            </a:pPr>
            <a:r>
              <a:rPr lang="pt-pt" sz="1200" b="0" i="0" u="none" baseline="0" dirty="0">
                <a:ea typeface="Roboto Light"/>
                <a:cs typeface="Roboto Light"/>
              </a:rPr>
              <a:t>Ligue a máquina no interruptor de ligar/desligar e a máquina inicia na última predefinição utilizada.</a:t>
            </a:r>
            <a:endParaRPr lang="pt-pt" sz="1600" noProof="0" dirty="0"/>
          </a:p>
          <a:p>
            <a:pPr marL="198755" indent="-198755" algn="l" rtl="0">
              <a:spcBef>
                <a:spcPts val="1000"/>
              </a:spcBef>
            </a:pPr>
            <a:r>
              <a:rPr lang="pt-pt" sz="1200" b="0" i="0" u="none" baseline="0" dirty="0">
                <a:ea typeface="Roboto Light"/>
                <a:cs typeface="Roboto Light"/>
              </a:rPr>
              <a:t>Ajuste a máquina através do botão rotativo robusto e do botão de menu e de retorno à prova de água. </a:t>
            </a:r>
          </a:p>
          <a:p>
            <a:pPr marL="198755" indent="-198755" algn="l" rtl="0">
              <a:spcBef>
                <a:spcPts val="1000"/>
              </a:spcBef>
            </a:pPr>
            <a:r>
              <a:rPr lang="pt-pt" sz="1200" b="0" i="0" u="none" baseline="0" dirty="0">
                <a:ea typeface="Roboto Light"/>
                <a:cs typeface="Roboto Light"/>
              </a:rPr>
              <a:t>A máquina vem com 5 predefinições que podem ser rapidamente ajustadas, ocultadas ou adicionadas com nomes personalizados.</a:t>
            </a:r>
          </a:p>
          <a:p>
            <a:pPr marL="198755" indent="-198755" algn="l" rtl="0">
              <a:spcBef>
                <a:spcPts val="1000"/>
              </a:spcBef>
            </a:pPr>
            <a:r>
              <a:rPr lang="pt-pt" sz="1200" b="0" i="0" u="none" baseline="0" dirty="0">
                <a:ea typeface="Roboto Light"/>
                <a:cs typeface="Roboto Light"/>
              </a:rPr>
              <a:t>O visor apresenta a temperatura, a pressão e a % da solução de detergente. </a:t>
            </a:r>
          </a:p>
          <a:p>
            <a:pPr marL="198755" indent="-198755" algn="l" rtl="0">
              <a:spcBef>
                <a:spcPts val="1000"/>
              </a:spcBef>
            </a:pPr>
            <a:r>
              <a:rPr lang="pt-pt" sz="1200" b="0" i="0" u="none" baseline="0" dirty="0">
                <a:ea typeface="Roboto Light"/>
                <a:cs typeface="Roboto Light"/>
              </a:rPr>
              <a:t>As definições podem ser bloqueadas para controlar a temperatura da máquina e as definições do detergente - por motivos de custos e segurança. </a:t>
            </a:r>
          </a:p>
          <a:p>
            <a:pPr marL="198755" indent="-198755" algn="l" rtl="0">
              <a:spcBef>
                <a:spcPts val="1000"/>
              </a:spcBef>
            </a:pPr>
            <a:r>
              <a:rPr lang="pt-pt" sz="1200" b="0" i="0" u="none" baseline="0" dirty="0">
                <a:ea typeface="Roboto Light"/>
                <a:cs typeface="Roboto Light"/>
              </a:rPr>
              <a:t>O visor pode ser ajustado para os idiomas locais.</a:t>
            </a:r>
          </a:p>
          <a:p>
            <a:pPr marL="198755" indent="-198755" algn="l" rtl="0">
              <a:spcBef>
                <a:spcPts val="1000"/>
              </a:spcBef>
            </a:pPr>
            <a:r>
              <a:rPr lang="pt-pt" sz="1200" b="0" i="0" u="none" baseline="0" dirty="0">
                <a:ea typeface="Roboto Light"/>
                <a:cs typeface="Roboto Light"/>
              </a:rPr>
              <a:t>Quando é necessário efetuar a manutenção, ocorrem trabalhos de manutenção menores ou avarias, o visor apresenta uma janela pop-up e os passos seguintes para facilitar o manuseamento e manter a máquina limpa. </a:t>
            </a:r>
          </a:p>
          <a:p>
            <a:pPr marL="198755" indent="-198755" algn="l" rtl="0">
              <a:spcBef>
                <a:spcPts val="1000"/>
              </a:spcBef>
            </a:pPr>
            <a:r>
              <a:rPr lang="pt-pt" sz="1200" b="0" i="0" u="none" baseline="0" dirty="0">
                <a:ea typeface="Roboto Light"/>
                <a:cs typeface="Roboto Light"/>
              </a:rPr>
              <a:t>As máquinas podem mostrar as melhores práticas de limpeza de HPW, orientações da máquina para os utilizadores a bordo e informações de utilização. </a:t>
            </a:r>
            <a:endParaRPr lang="pt-pt" sz="1200" noProof="0" dirty="0"/>
          </a:p>
        </p:txBody>
      </p:sp>
    </p:spTree>
    <p:extLst>
      <p:ext uri="{BB962C8B-B14F-4D97-AF65-F5344CB8AC3E}">
        <p14:creationId xmlns:p14="http://schemas.microsoft.com/office/powerpoint/2010/main" val="633220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9350F49-70A5-CC85-9937-8D985624A3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pt-pt" b="0" i="0" u="none" baseline="0">
                <a:ea typeface="Roboto Light"/>
                <a:cs typeface="Roboto Light"/>
              </a:rPr>
              <a:t>Primeira utilização e familiarização com a máquina e a interface do utilizador </a:t>
            </a:r>
            <a:endParaRPr lang="pt-pt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2457487-FA7A-B85D-30C1-5971360BF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>
                <a:ea typeface="+mj-lt"/>
                <a:cs typeface="+mj-lt"/>
              </a:rPr>
              <a:t>Interface do utilizador atualizada</a:t>
            </a:r>
            <a:endParaRPr lang="pt-pt" sz="3200" noProof="0" dirty="0">
              <a:ea typeface="+mj-lt"/>
              <a:cs typeface="+mj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774DC1-357D-5777-97F0-0528BB22DBC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89CF82-7D3F-9547-5370-B1177B012A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9</a:t>
            </a:fld>
            <a:endParaRPr lang="pt-pt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45B890-683C-732A-AF7F-10CCB088B8D5}"/>
              </a:ext>
            </a:extLst>
          </p:cNvPr>
          <p:cNvSpPr txBox="1"/>
          <p:nvPr/>
        </p:nvSpPr>
        <p:spPr>
          <a:xfrm>
            <a:off x="489857" y="1396999"/>
            <a:ext cx="983355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pt-pt" sz="1600" b="1" i="0" u="none" baseline="0">
                <a:ea typeface="Roboto Light"/>
                <a:cs typeface="Roboto Light"/>
              </a:rPr>
              <a:t>Primeira utilização </a:t>
            </a:r>
            <a:r>
              <a:rPr lang="pt-pt" sz="1600" b="0" i="0" u="none" baseline="0">
                <a:ea typeface="Roboto Light"/>
                <a:cs typeface="Roboto Light"/>
              </a:rPr>
              <a:t>- o utilizador é guiado através desta sequência no primeiro arranque quando a máquina é nova</a:t>
            </a:r>
          </a:p>
        </p:txBody>
      </p:sp>
      <p:pic>
        <p:nvPicPr>
          <p:cNvPr id="10" name="Picture 9" descr="A screenshot of a video game&#10;&#10;AI-generated content may be incorrect.">
            <a:extLst>
              <a:ext uri="{FF2B5EF4-FFF2-40B4-BE49-F238E27FC236}">
                <a16:creationId xmlns:a16="http://schemas.microsoft.com/office/drawing/2014/main" id="{B1078874-7412-2212-07F7-6FA703C1E9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476" y="1720397"/>
            <a:ext cx="2095047" cy="1194707"/>
          </a:xfrm>
          <a:prstGeom prst="rect">
            <a:avLst/>
          </a:prstGeom>
        </p:spPr>
      </p:pic>
      <p:pic>
        <p:nvPicPr>
          <p:cNvPr id="11" name="Picture 10" descr="A screen shot of a device&#10;&#10;AI-generated content may be incorrect.">
            <a:extLst>
              <a:ext uri="{FF2B5EF4-FFF2-40B4-BE49-F238E27FC236}">
                <a16:creationId xmlns:a16="http://schemas.microsoft.com/office/drawing/2014/main" id="{A298E303-8C17-27E2-5768-9572BB9CF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1428" y="1710870"/>
            <a:ext cx="2086429" cy="1195615"/>
          </a:xfrm>
          <a:prstGeom prst="rect">
            <a:avLst/>
          </a:prstGeom>
        </p:spPr>
      </p:pic>
      <p:pic>
        <p:nvPicPr>
          <p:cNvPr id="12" name="Picture 11" descr="A screenshot of a video game&#10;&#10;AI-generated content may be incorrect.">
            <a:extLst>
              <a:ext uri="{FF2B5EF4-FFF2-40B4-BE49-F238E27FC236}">
                <a16:creationId xmlns:a16="http://schemas.microsoft.com/office/drawing/2014/main" id="{CD920714-4D45-4D89-C298-089093842C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3453" y="1711324"/>
            <a:ext cx="2149022" cy="1194708"/>
          </a:xfrm>
          <a:prstGeom prst="rect">
            <a:avLst/>
          </a:prstGeom>
        </p:spPr>
      </p:pic>
      <p:pic>
        <p:nvPicPr>
          <p:cNvPr id="13" name="Picture 12" descr="A black and white screen with white text&#10;&#10;AI-generated content may be incorrect.">
            <a:extLst>
              <a:ext uri="{FF2B5EF4-FFF2-40B4-BE49-F238E27FC236}">
                <a16:creationId xmlns:a16="http://schemas.microsoft.com/office/drawing/2014/main" id="{E4875921-6787-F5CA-782D-8A2A39F2CB13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98"/>
          <a:stretch>
            <a:fillRect/>
          </a:stretch>
        </p:blipFill>
        <p:spPr>
          <a:xfrm>
            <a:off x="7242855" y="1710871"/>
            <a:ext cx="2142205" cy="1195654"/>
          </a:xfrm>
          <a:prstGeom prst="rect">
            <a:avLst/>
          </a:prstGeom>
        </p:spPr>
      </p:pic>
      <p:pic>
        <p:nvPicPr>
          <p:cNvPr id="14" name="Picture 13" descr="A screen shot of a device&#10;&#10;AI-generated content may be incorrect.">
            <a:extLst>
              <a:ext uri="{FF2B5EF4-FFF2-40B4-BE49-F238E27FC236}">
                <a16:creationId xmlns:a16="http://schemas.microsoft.com/office/drawing/2014/main" id="{EE847A92-7748-35CE-5595-C96C6D8649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56976" y="1716087"/>
            <a:ext cx="2158547" cy="118518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4B544EC-A492-BFFF-1623-9C5411CBAEDD}"/>
              </a:ext>
            </a:extLst>
          </p:cNvPr>
          <p:cNvSpPr txBox="1"/>
          <p:nvPr/>
        </p:nvSpPr>
        <p:spPr>
          <a:xfrm>
            <a:off x="480785" y="3111499"/>
            <a:ext cx="7511140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pt-pt" sz="1600" b="1" i="0" u="none" baseline="0">
                <a:ea typeface="Roboto Light"/>
                <a:cs typeface="Roboto Light"/>
              </a:rPr>
              <a:t>Guia de início rápido</a:t>
            </a:r>
            <a:r>
              <a:rPr lang="pt-pt" sz="1600" b="0" i="0" u="none" baseline="0">
                <a:ea typeface="Roboto Light"/>
                <a:cs typeface="Roboto Light"/>
              </a:rPr>
              <a:t> - encontra-se no Menu e pode ser ligado para cada arranque </a:t>
            </a:r>
            <a:endParaRPr lang="pt-pt" sz="1600" noProof="0" dirty="0"/>
          </a:p>
        </p:txBody>
      </p:sp>
      <p:pic>
        <p:nvPicPr>
          <p:cNvPr id="16" name="Picture 15" descr="A screenshot of a device&#10;&#10;AI-generated content may be incorrect.">
            <a:extLst>
              <a:ext uri="{FF2B5EF4-FFF2-40B4-BE49-F238E27FC236}">
                <a16:creationId xmlns:a16="http://schemas.microsoft.com/office/drawing/2014/main" id="{42712213-C535-6372-4CAB-EF330D9747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2351" y="3430134"/>
            <a:ext cx="2081440" cy="1186090"/>
          </a:xfrm>
          <a:prstGeom prst="rect">
            <a:avLst/>
          </a:prstGeom>
        </p:spPr>
      </p:pic>
      <p:pic>
        <p:nvPicPr>
          <p:cNvPr id="17" name="Picture 16" descr="A screen shot of a device&#10;&#10;AI-generated content may be incorrect.">
            <a:extLst>
              <a:ext uri="{FF2B5EF4-FFF2-40B4-BE49-F238E27FC236}">
                <a16:creationId xmlns:a16="http://schemas.microsoft.com/office/drawing/2014/main" id="{C33F3A6F-9114-F599-9A71-2FCFDF39FE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9842" y="3432856"/>
            <a:ext cx="2089604" cy="1180647"/>
          </a:xfrm>
          <a:prstGeom prst="rect">
            <a:avLst/>
          </a:prstGeom>
        </p:spPr>
      </p:pic>
      <p:pic>
        <p:nvPicPr>
          <p:cNvPr id="18" name="Picture 17" descr="A close-up of a device&#10;&#10;AI-generated content may be incorrect.">
            <a:extLst>
              <a:ext uri="{FF2B5EF4-FFF2-40B4-BE49-F238E27FC236}">
                <a16:creationId xmlns:a16="http://schemas.microsoft.com/office/drawing/2014/main" id="{A7A0D0D5-3701-7401-1D34-783BA24214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1412" y="3431948"/>
            <a:ext cx="2153104" cy="1182461"/>
          </a:xfrm>
          <a:prstGeom prst="rect">
            <a:avLst/>
          </a:prstGeom>
        </p:spPr>
      </p:pic>
      <p:pic>
        <p:nvPicPr>
          <p:cNvPr id="19" name="Picture 18" descr="A screenshot of a video game&#10;&#10;AI-generated content may be incorrect.">
            <a:extLst>
              <a:ext uri="{FF2B5EF4-FFF2-40B4-BE49-F238E27FC236}">
                <a16:creationId xmlns:a16="http://schemas.microsoft.com/office/drawing/2014/main" id="{51313AB9-77E6-A21D-4BD4-7EBB3673793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44669" y="3430361"/>
            <a:ext cx="2156733" cy="1185636"/>
          </a:xfrm>
          <a:prstGeom prst="rect">
            <a:avLst/>
          </a:prstGeom>
        </p:spPr>
      </p:pic>
      <p:pic>
        <p:nvPicPr>
          <p:cNvPr id="22" name="Picture 21" descr="A screenshot of a video game&#10;&#10;AI-generated content may be incorrect.">
            <a:extLst>
              <a:ext uri="{FF2B5EF4-FFF2-40B4-BE49-F238E27FC236}">
                <a16:creationId xmlns:a16="http://schemas.microsoft.com/office/drawing/2014/main" id="{633C228B-E1C4-8EAE-95FA-5E204709BEE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557204" y="3427640"/>
            <a:ext cx="2149022" cy="119107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D5176F-78D7-B69F-0621-E6EF84D145AA}"/>
              </a:ext>
            </a:extLst>
          </p:cNvPr>
          <p:cNvSpPr txBox="1"/>
          <p:nvPr/>
        </p:nvSpPr>
        <p:spPr>
          <a:xfrm>
            <a:off x="489856" y="4789713"/>
            <a:ext cx="9352641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pt-pt" sz="1600" b="1" i="0" u="none" baseline="0">
                <a:ea typeface="Roboto Light"/>
                <a:cs typeface="Roboto Light"/>
              </a:rPr>
              <a:t>Guia da máquina</a:t>
            </a:r>
            <a:r>
              <a:rPr lang="pt-pt" sz="1600" b="0" i="0" u="none" baseline="0">
                <a:ea typeface="Roboto Light"/>
                <a:cs typeface="Roboto Light"/>
              </a:rPr>
              <a:t> - um guia na interface do utilizador e pontos de contacto na máquina</a:t>
            </a:r>
            <a:endParaRPr lang="pt-pt" sz="16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3708F5F-80FF-63D5-1A19-5773B4AA3F8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2374" y="5116058"/>
            <a:ext cx="2083254" cy="125231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6FB1458-9B9B-EEE6-20BC-145131AC0FD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18707" y="5116058"/>
            <a:ext cx="2091872" cy="1252311"/>
          </a:xfrm>
          <a:prstGeom prst="rect">
            <a:avLst/>
          </a:prstGeom>
        </p:spPr>
      </p:pic>
      <p:pic>
        <p:nvPicPr>
          <p:cNvPr id="26" name="Picture 25" descr="A screen shot of a device&#10;&#10;AI-generated content may be incorrect.">
            <a:extLst>
              <a:ext uri="{FF2B5EF4-FFF2-40B4-BE49-F238E27FC236}">
                <a16:creationId xmlns:a16="http://schemas.microsoft.com/office/drawing/2014/main" id="{2675324C-52E2-2BA7-F8B8-F1CB4382FC2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950279" y="5111750"/>
            <a:ext cx="2155372" cy="1251858"/>
          </a:xfrm>
          <a:prstGeom prst="rect">
            <a:avLst/>
          </a:prstGeom>
        </p:spPr>
      </p:pic>
      <p:pic>
        <p:nvPicPr>
          <p:cNvPr id="27" name="Picture 26" descr="A black and blue device with text&#10;&#10;AI-generated content may be incorrect.">
            <a:extLst>
              <a:ext uri="{FF2B5EF4-FFF2-40B4-BE49-F238E27FC236}">
                <a16:creationId xmlns:a16="http://schemas.microsoft.com/office/drawing/2014/main" id="{B63BD821-738B-97C7-9C31-08B3B18870F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240588" y="5114698"/>
            <a:ext cx="2146754" cy="125503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7982179-8EFB-9B7A-5352-A658195B296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553802" y="5110843"/>
            <a:ext cx="2155826" cy="1244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55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6946D-2B2A-40C4-3ACD-EBF379F62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D1D123-95EC-AB19-E570-95199E411A6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68167" y="1381125"/>
            <a:ext cx="1962388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Proposta de val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DC879C-5ADF-E127-058B-95F2A07B6C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68167" y="2222844"/>
            <a:ext cx="2284746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Marca e desig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1A5C7F-8AFB-148F-3D94-30EA30B01CE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3064563"/>
            <a:ext cx="1962388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Segmento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2374C6-2F55-C9D0-4EF9-205107F461F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8167" y="3906282"/>
            <a:ext cx="2070433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Produto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0D1613B-608D-82F2-CAE5-EC37D1AC03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464984" y="1381125"/>
            <a:ext cx="2070433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Eficiência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BA98B7-9152-573D-4ADA-3FBBDB79FAC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17600" y="1381125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4F5D9CF-3BBB-D09D-2F2F-AC9CC0A6F3C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17600" y="2222842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5D66DCF-CC37-45DD-B3D2-19B65FAC2CA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17600" y="3064563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F4CDC84-FD39-2101-0757-15801F95ABE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17600" y="3906282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4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9083ADC-6221-3E7E-CA3E-AC0EAD1D779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614417" y="1381125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5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26982BF-C50D-3468-B43D-04FD09206CA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614417" y="2222842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6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77A2010-3C53-4BF4-E468-358A718ABE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522287" y="2333874"/>
            <a:ext cx="2072021" cy="698238"/>
          </a:xfrm>
        </p:spPr>
        <p:txBody>
          <a:bodyPr/>
          <a:lstStyle/>
          <a:p>
            <a:pPr algn="l" rtl="0"/>
            <a:r>
              <a:rPr lang="pt-pt" b="0" i="0" u="none" baseline="0" dirty="0"/>
              <a:t>Assistência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720AA66-6B52-0DCD-0E3F-2F9F4C12F326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571035" y="3127651"/>
            <a:ext cx="1858330" cy="698238"/>
          </a:xfrm>
        </p:spPr>
        <p:txBody>
          <a:bodyPr/>
          <a:lstStyle/>
          <a:p>
            <a:pPr algn="l" rtl="0"/>
            <a:r>
              <a:rPr lang="pt-pt" b="0" i="0" u="none" baseline="0" dirty="0"/>
              <a:t>Patent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0CD9E316-F913-645C-4E01-97214ECF1E17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571035" y="3921428"/>
            <a:ext cx="2180066" cy="698238"/>
          </a:xfrm>
        </p:spPr>
        <p:txBody>
          <a:bodyPr/>
          <a:lstStyle/>
          <a:p>
            <a:pPr algn="l" rtl="0"/>
            <a:r>
              <a:rPr lang="pt-pt" b="0" i="0" u="none" baseline="0" dirty="0"/>
              <a:t>Resumo do produt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A5A0CA2-7CD4-53BC-9572-71664BAC72E0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995211" y="1362360"/>
            <a:ext cx="2983145" cy="698238"/>
          </a:xfrm>
        </p:spPr>
        <p:txBody>
          <a:bodyPr/>
          <a:lstStyle/>
          <a:p>
            <a:pPr algn="l" rtl="0"/>
            <a:r>
              <a:rPr lang="pt-pt" b="0" i="0" u="none" baseline="0" dirty="0"/>
              <a:t>Características técnica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A5932F4-F9F4-6A20-E706-D1584F2B527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9187822" y="2222842"/>
            <a:ext cx="2072021" cy="698238"/>
          </a:xfrm>
        </p:spPr>
        <p:txBody>
          <a:bodyPr/>
          <a:lstStyle/>
          <a:p>
            <a:pPr algn="l" rtl="0"/>
            <a:r>
              <a:rPr lang="pt-pt" b="0" i="0" u="none" baseline="0" dirty="0"/>
              <a:t>PAC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EA2BF0C-2477-BF12-615C-C1CEB774B32F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4614417" y="3064563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7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E21AD07-667C-A9FF-BFA5-17CA00ABC9CF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4614417" y="3906282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8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E9642470-8D10-F8E5-0C3E-D5272C29C065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8144644" y="1381125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9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F010CE36-E391-8088-08D9-F0817F2582E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8144644" y="2222842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10</a:t>
            </a:r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0A2AEE91-26D6-9DBC-5B9E-4CFD9430D045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E34461B0-03E5-9A29-4BF6-E2091B96E31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1940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6E8B1693-1911-4AF6-FE1C-A62F372BEC9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363143"/>
            <a:ext cx="3559175" cy="4900005"/>
          </a:xfrm>
        </p:spPr>
        <p:txBody>
          <a:bodyPr/>
          <a:lstStyle/>
          <a:p>
            <a:pPr marL="0" indent="0" algn="l" rtl="0">
              <a:buNone/>
            </a:pPr>
            <a:r>
              <a:rPr lang="pt-pt" b="0" i="0" u="none" baseline="0" dirty="0">
                <a:latin typeface="+mj-lt"/>
                <a:ea typeface="+mj-lt"/>
                <a:cs typeface="+mj-lt"/>
              </a:rPr>
              <a:t>Utilizar a máquina tal como está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 dirty="0"/>
              <a:t>As máquinas avançadas vêm com 5 predefinições que abrangem a maioria das tarefas de limpeza.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 dirty="0"/>
              <a:t>Ligue a máquina e selecione o modo de limpeza pretendido. A máquina lembra-se da última predefinição utilizada ao "ligar"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1" u="none" baseline="0" dirty="0"/>
              <a:t>Necessita </a:t>
            </a:r>
            <a:r>
              <a:rPr lang="pt-pt" b="0" i="1" baseline="0" dirty="0"/>
              <a:t>de </a:t>
            </a:r>
            <a:r>
              <a:rPr lang="pt-pt" b="0" i="1" u="none" baseline="0" dirty="0"/>
              <a:t>uma pequena alteração da predefinição? </a:t>
            </a:r>
          </a:p>
          <a:p>
            <a:pPr marL="0" indent="0" algn="l" rtl="0">
              <a:buNone/>
            </a:pPr>
            <a:r>
              <a:rPr lang="pt-pt" b="0" i="0" u="none" baseline="0" dirty="0"/>
              <a:t>As predefinições de detergente, temperatura elevada e limpeza a vapor podem ser ajustadas rapidamente – mantenha o botão rotativo pressionado durante 2 segundos e ajuste a temperatura e a configuração do detergente. </a:t>
            </a:r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C741C377-F403-80B8-ADAC-88A8CD3C9FDF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363143"/>
            <a:ext cx="3559175" cy="4900005"/>
          </a:xfrm>
        </p:spPr>
        <p:txBody>
          <a:bodyPr/>
          <a:lstStyle/>
          <a:p>
            <a:pPr marL="0" indent="0" algn="l" rtl="0">
              <a:buNone/>
            </a:pPr>
            <a:r>
              <a:rPr lang="pt-pt" b="0" i="0" u="none" baseline="0">
                <a:latin typeface="+mj-lt"/>
                <a:ea typeface="+mj-lt"/>
                <a:cs typeface="+mj-lt"/>
              </a:rPr>
              <a:t>Personalizar predefinições 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/>
              <a:t>As máquinas Advanced podem ser personalizadas de acordo com as necessidades e preferências de cada cliente. 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/>
              <a:t>No menu de predefinições, as predefinições de fábrica podem ser ocultadas ou personalizadas. </a:t>
            </a:r>
          </a:p>
          <a:p>
            <a:pPr marL="0" indent="0" algn="l" rtl="0">
              <a:buNone/>
            </a:pPr>
            <a:r>
              <a:rPr lang="pt-pt" b="0" i="0" u="none" baseline="0"/>
              <a:t>Também é possível criar novas predefinições com nomes específicos para cada predefinição. 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/>
              <a:t>Os utilizadores podem criar um total de 20 predefinições. </a:t>
            </a:r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AEACD878-1EC7-6B04-2156-EE2125D11F4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363143"/>
            <a:ext cx="3559175" cy="4900005"/>
          </a:xfrm>
        </p:spPr>
        <p:txBody>
          <a:bodyPr/>
          <a:lstStyle/>
          <a:p>
            <a:pPr marL="0" indent="0" algn="l" rtl="0">
              <a:buNone/>
            </a:pPr>
            <a:r>
              <a:rPr lang="pt-pt" b="0" i="0" u="none" baseline="0">
                <a:latin typeface="+mj-lt"/>
                <a:ea typeface="+mj-lt"/>
                <a:cs typeface="+mj-lt"/>
              </a:rPr>
              <a:t>Bloqueie a máquina para predefinições específicas</a:t>
            </a:r>
          </a:p>
          <a:p>
            <a:pPr marL="0" indent="0" algn="l" rtl="0">
              <a:buNone/>
            </a:pPr>
            <a:endParaRPr lang="pt-pt" noProof="0" dirty="0">
              <a:latin typeface="+mj-lt"/>
            </a:endParaRPr>
          </a:p>
          <a:p>
            <a:pPr marL="0" indent="0" algn="l" rtl="0">
              <a:buNone/>
            </a:pPr>
            <a:r>
              <a:rPr lang="pt-pt" b="0" i="0" u="none" baseline="0"/>
              <a:t>As predefinições da máquina podem ser bloqueadas com um código PIN de 4 dígitos selecionado pelo cliente. 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/>
              <a:t>Garanta resultados consistentes e minimize a utilização excessiva de gasóleo e detergente com o bloqueio predefinido ligado. 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E716AF9-A867-8550-0EEE-C6D9E665DDB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1791540-F311-93B2-8FDF-D6B1684D30FE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0</a:t>
            </a:fld>
            <a:endParaRPr lang="pt-pt" noProof="0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F2A8494B-672B-6FA2-FD52-CE06C0DAEF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Utilização diária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BEC1E9-72F0-1CB9-4837-BC5E1370D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>
                <a:ea typeface="+mj-lt"/>
                <a:cs typeface="+mj-lt"/>
              </a:rPr>
              <a:t>Interface do utilizador atualizada</a:t>
            </a:r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868218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F80C2B0A-F6E8-6F1E-98DF-83DDF9F74204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pt-pt" b="0" i="0" u="none" baseline="0">
                <a:latin typeface="+mj-lt"/>
                <a:ea typeface="+mj-lt"/>
                <a:cs typeface="+mj-lt"/>
              </a:rPr>
              <a:t>Informações da máquina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/>
              <a:t>Saiba mais sobre:</a:t>
            </a:r>
          </a:p>
          <a:p>
            <a:pPr algn="l" rtl="0">
              <a:buFontTx/>
              <a:buChar char="-"/>
            </a:pPr>
            <a:r>
              <a:rPr lang="pt-pt" b="0" i="0" u="none" baseline="0"/>
              <a:t>Tempo ligada</a:t>
            </a:r>
          </a:p>
          <a:p>
            <a:pPr algn="l" rtl="0">
              <a:buFontTx/>
              <a:buChar char="-"/>
            </a:pPr>
            <a:r>
              <a:rPr lang="pt-pt" b="0" i="0" u="none" baseline="0"/>
              <a:t>Tempo de caldeira ligada</a:t>
            </a:r>
          </a:p>
          <a:p>
            <a:pPr algn="l" rtl="0">
              <a:buFontTx/>
              <a:buChar char="-"/>
            </a:pPr>
            <a:r>
              <a:rPr lang="pt-pt" b="0" i="0" u="none" baseline="0"/>
              <a:t>Tempo de motor/bomba ligado</a:t>
            </a:r>
          </a:p>
          <a:p>
            <a:pPr algn="l" rtl="0">
              <a:buFontTx/>
              <a:buChar char="-"/>
            </a:pPr>
            <a:r>
              <a:rPr lang="pt-pt" b="0" i="0" u="none" baseline="0"/>
              <a:t>Tempo de detergente ligado</a:t>
            </a:r>
          </a:p>
          <a:p>
            <a:pPr algn="l" rtl="0">
              <a:buFontTx/>
              <a:buChar char="-"/>
            </a:pPr>
            <a:r>
              <a:rPr lang="pt-pt" b="0" i="0" u="none" baseline="0"/>
              <a:t>Horas desde a última assistência</a:t>
            </a:r>
          </a:p>
          <a:p>
            <a:pPr algn="l" rtl="0">
              <a:buFontTx/>
              <a:buChar char="-"/>
            </a:pPr>
            <a:r>
              <a:rPr lang="pt-pt" b="0" i="0" u="none" baseline="0"/>
              <a:t>Data da última assistência</a:t>
            </a:r>
          </a:p>
          <a:p>
            <a:pPr algn="l" rtl="0">
              <a:buFontTx/>
              <a:buChar char="-"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/>
              <a:t>Encontre as informações da máquina na secção Menu.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0C0CC03-4BE6-6DD4-C5E8-BD2EF65C663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pt-pt" b="0" i="0" u="none" baseline="0">
                <a:latin typeface="+mj-lt"/>
                <a:ea typeface="+mj-lt"/>
                <a:cs typeface="+mj-lt"/>
              </a:rPr>
              <a:t>Utilização e manutenção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/>
              <a:t>Necessita de encontrar o manual do utilizador ou elementos PAC. Leia o código QR na secção Ajuda e entre em contacto com Nilfisk.com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/>
              <a:t>Obtenha informações sobre o histórico de avisos e códigos de erro na secção Registo de erros no menu. 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endParaRPr lang="pt-pt" noProof="0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9A1F07C-4D13-9946-4FB8-4094841674D0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pt-pt" b="0" i="0" u="none" baseline="0">
                <a:latin typeface="+mj-lt"/>
                <a:ea typeface="+mj-lt"/>
                <a:cs typeface="+mj-lt"/>
              </a:rPr>
              <a:t>Guia do utilizador HPW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/>
              <a:t>Encontre orientações sobre as melhores práticas para lavadoras de alta pressão.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/>
              <a:t>Integrar novos utilizadores com informações sobre</a:t>
            </a:r>
          </a:p>
          <a:p>
            <a:pPr algn="l" rtl="0">
              <a:buFontTx/>
              <a:buChar char="-"/>
            </a:pPr>
            <a:r>
              <a:rPr lang="pt-pt" b="0" i="0" u="none" baseline="0"/>
              <a:t>Distância de pulverização</a:t>
            </a:r>
          </a:p>
          <a:p>
            <a:pPr algn="l" rtl="0">
              <a:buFontTx/>
              <a:buChar char="-"/>
            </a:pPr>
            <a:r>
              <a:rPr lang="pt-pt" b="0" i="0" u="none" baseline="0"/>
              <a:t>Ajuste da pressão</a:t>
            </a:r>
          </a:p>
          <a:p>
            <a:pPr algn="l" rtl="0">
              <a:buFontTx/>
              <a:buChar char="-"/>
            </a:pPr>
            <a:r>
              <a:rPr lang="pt-pt" b="0" i="0" u="none" baseline="0"/>
              <a:t>Seleção de temperatura</a:t>
            </a:r>
          </a:p>
          <a:p>
            <a:pPr algn="l" rtl="0">
              <a:buFontTx/>
              <a:buChar char="-"/>
            </a:pPr>
            <a:r>
              <a:rPr lang="pt-pt" b="0" i="0" u="none" baseline="0"/>
              <a:t>Ângulo do pulverizador </a:t>
            </a:r>
          </a:p>
          <a:p>
            <a:pPr algn="l" rtl="0">
              <a:buFontTx/>
              <a:buChar char="-"/>
            </a:pPr>
            <a:r>
              <a:rPr lang="pt-pt" b="0" i="0" u="none" baseline="0"/>
              <a:t>E muito mais</a:t>
            </a:r>
          </a:p>
          <a:p>
            <a:pPr algn="l" rtl="0">
              <a:buFontTx/>
              <a:buChar char="-"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/>
              <a:t>Encontre na secção Ajuda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C39B8A3-5B3C-0419-A9E7-F78BB97AE37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EAC9213-B6A0-71F4-51CC-A124D87B52F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1</a:t>
            </a:fld>
            <a:endParaRPr lang="pt-pt" noProof="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17844E6A-DE9D-16FC-6488-20718DFC90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Informações, utilização e manutenção e integração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E793E2F-E39E-9AE9-CFAD-33780B7E8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Interface do utilizador atualizada</a:t>
            </a:r>
          </a:p>
        </p:txBody>
      </p:sp>
    </p:spTree>
    <p:extLst>
      <p:ext uri="{BB962C8B-B14F-4D97-AF65-F5344CB8AC3E}">
        <p14:creationId xmlns:p14="http://schemas.microsoft.com/office/powerpoint/2010/main" val="3489933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E646D7-6F58-597A-F07C-379FC2DE604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47DB8AA-FB3D-542E-39FD-E7C481FCB9F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2</a:t>
            </a:fld>
            <a:endParaRPr lang="pt-pt" noProof="0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7ACFF741-CC5E-792E-F799-9DD98802E7FC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pt-pt" b="0" i="0" u="none" baseline="0" dirty="0">
                <a:solidFill>
                  <a:schemeClr val="accent6"/>
                </a:solidFill>
                <a:latin typeface="+mj-lt"/>
                <a:ea typeface="+mj-lt"/>
                <a:cs typeface="+mj-lt"/>
              </a:rPr>
              <a:t>Mensagens de aviso 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 dirty="0"/>
              <a:t>A máquina informará os utilizadores se:</a:t>
            </a:r>
          </a:p>
          <a:p>
            <a:pPr algn="l" rtl="0">
              <a:buFontTx/>
              <a:buChar char="-"/>
            </a:pPr>
            <a:r>
              <a:rPr lang="pt-pt" b="0" i="0" u="none" baseline="0" dirty="0"/>
              <a:t>Combustível vazio</a:t>
            </a:r>
          </a:p>
          <a:p>
            <a:pPr algn="l" rtl="0">
              <a:buFontTx/>
              <a:buChar char="-"/>
            </a:pPr>
            <a:r>
              <a:rPr lang="pt-pt" b="0" i="0" u="none" baseline="0" dirty="0"/>
              <a:t>Antipedra baixo</a:t>
            </a:r>
          </a:p>
          <a:p>
            <a:pPr algn="l" rtl="0">
              <a:buFontTx/>
              <a:buChar char="-"/>
            </a:pPr>
            <a:r>
              <a:rPr lang="pt-pt" b="0" i="0" u="none" baseline="0" dirty="0"/>
              <a:t>Manutenção necessária (com contagem decrescente de horas)</a:t>
            </a:r>
          </a:p>
          <a:p>
            <a:pPr algn="l" rtl="0">
              <a:buFontTx/>
              <a:buChar char="-"/>
            </a:pPr>
            <a:r>
              <a:rPr lang="pt-pt" b="0" i="0" u="none" baseline="0" dirty="0"/>
              <a:t>Manutenção ultrapassada (com contagem decrescente de horas)</a:t>
            </a:r>
          </a:p>
          <a:p>
            <a:pPr algn="l" rtl="0">
              <a:buFontTx/>
              <a:buChar char="-"/>
            </a:pPr>
            <a:r>
              <a:rPr lang="pt-pt" b="0" i="0" u="none" baseline="0" dirty="0"/>
              <a:t>Falta de fluxo de água para a máquina</a:t>
            </a:r>
          </a:p>
          <a:p>
            <a:pPr algn="l" rtl="0">
              <a:buFontTx/>
              <a:buChar char="-"/>
            </a:pPr>
            <a:r>
              <a:rPr lang="pt-pt" b="0" i="0" u="none" baseline="0" dirty="0"/>
              <a:t>Erro do sensor de pressão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 dirty="0"/>
              <a:t>A mensagem instantânea apresentará uma causa e uma solução para corrigir o aviso. 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endParaRPr lang="pt-pt" noProof="0" dirty="0"/>
          </a:p>
          <a:p>
            <a:pPr algn="l" rtl="0">
              <a:buFontTx/>
              <a:buChar char="-"/>
            </a:pPr>
            <a:endParaRPr lang="pt-pt" noProof="0" dirty="0"/>
          </a:p>
          <a:p>
            <a:pPr algn="l" rtl="0">
              <a:buFontTx/>
              <a:buChar char="-"/>
            </a:pPr>
            <a:endParaRPr lang="pt-pt" noProof="0" dirty="0"/>
          </a:p>
          <a:p>
            <a:pPr algn="l" rtl="0">
              <a:buFontTx/>
              <a:buChar char="-"/>
            </a:pPr>
            <a:endParaRPr lang="pt-pt" noProof="0" dirty="0"/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E4F9562C-E8A0-9684-ABEA-A97BF5E4194F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pt-pt" b="0" i="0" u="none" baseline="0" dirty="0">
                <a:solidFill>
                  <a:schemeClr val="accent6">
                    <a:lumMod val="50000"/>
                  </a:schemeClr>
                </a:solidFill>
                <a:latin typeface="+mj-lt"/>
                <a:ea typeface="+mj-lt"/>
                <a:cs typeface="+mj-lt"/>
              </a:rPr>
              <a:t>Mensagens de erro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 dirty="0"/>
              <a:t>A máquina informará e limitará a limpeza nas predefinições de limpeza selecionadas se forem detetados erros à volta da caldeira, do motor, da bomba ou dos sensores. 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 dirty="0"/>
              <a:t>O objetivo do comportamento de erro é proteger a máquina para utilização atual e futura. 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 dirty="0"/>
              <a:t>As mensagens instantâneas mostram uma causa e uma solução para corrigir o erro. Será visível um código QR para digitalizar e entrar em contacto direto com a Assistência da Nilfisk. 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29C97238-B7C3-F1CE-4A66-8AD99E519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Maximize o tempo de atividade e a vida útil da máquina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A8344499-2D65-584A-0992-9367BD63D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>
                <a:ea typeface="+mj-lt"/>
                <a:cs typeface="+mj-lt"/>
              </a:rPr>
              <a:t>Interface do utilizador atualizada</a:t>
            </a:r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5482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F9AC11-C7C1-5137-9CA4-2B996F618B2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087655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r>
              <a:rPr lang="pt-pt" b="0" i="0" u="none" baseline="0"/>
              <a:t>CONFIDENCIAL D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B8F385-614A-58B4-7751-8B0EE515A53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479426" y="6529068"/>
            <a:ext cx="270170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fld id="{6C385236-B7BA-4938-9EA6-6DEC8CA653D7}" type="slidenum">
              <a:rPr/>
              <a:pPr>
                <a:spcAft>
                  <a:spcPts val="600"/>
                </a:spcAft>
              </a:pPr>
              <a:t>23</a:t>
            </a:fld>
            <a:endParaRPr lang="pt-pt" noProof="0" dirty="0"/>
          </a:p>
        </p:txBody>
      </p:sp>
      <p:pic>
        <p:nvPicPr>
          <p:cNvPr id="10" name="Picture 2" descr="Et billede, der indeholder apparat/anordning&#10;&#10;AI-genereret indhold kan være ukorrekt.">
            <a:extLst>
              <a:ext uri="{FF2B5EF4-FFF2-40B4-BE49-F238E27FC236}">
                <a16:creationId xmlns:a16="http://schemas.microsoft.com/office/drawing/2014/main" id="{C4D93E17-7E14-471D-C850-882669B7ECE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56" b="1556"/>
          <a:stretch/>
        </p:blipFill>
        <p:spPr>
          <a:xfrm>
            <a:off x="6613316" y="1251034"/>
            <a:ext cx="4723242" cy="4610837"/>
          </a:xfrm>
          <a:prstGeom prst="rect">
            <a:avLst/>
          </a:prstGeom>
          <a:solidFill>
            <a:schemeClr val="bg1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026C1B-7CAD-A9FE-B724-605DECABAE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2316840" cy="376456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 dirty="0"/>
              <a:t>A gama Standard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3D1433-8F76-AAB7-877C-8F6B7FD81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anchor="t">
            <a:noAutofit/>
          </a:bodyPr>
          <a:lstStyle/>
          <a:p>
            <a:pPr algn="l" rtl="0"/>
            <a:r>
              <a:rPr lang="pt-pt" b="1" i="0" u="none" baseline="0"/>
              <a:t>MH20-70</a:t>
            </a:r>
          </a:p>
        </p:txBody>
      </p:sp>
      <p:pic>
        <p:nvPicPr>
          <p:cNvPr id="8" name="Picture 7" descr="A black and blue machine with wheels&#10;&#10;AI-generated content may be incorrect.">
            <a:extLst>
              <a:ext uri="{FF2B5EF4-FFF2-40B4-BE49-F238E27FC236}">
                <a16:creationId xmlns:a16="http://schemas.microsoft.com/office/drawing/2014/main" id="{488BB3D2-0A3F-E80E-D765-547CE9DE729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5037" y="1248343"/>
            <a:ext cx="4140446" cy="4796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04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703593-CD76-C312-EFBC-B1C9C8010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blue machine with wheels&#10;&#10;AI-generated content may be incorrect.">
            <a:extLst>
              <a:ext uri="{FF2B5EF4-FFF2-40B4-BE49-F238E27FC236}">
                <a16:creationId xmlns:a16="http://schemas.microsoft.com/office/drawing/2014/main" id="{7ADC81E8-9B6A-CE5A-9E60-54722BB16B0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2978" y="711887"/>
            <a:ext cx="5129231" cy="594848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B47DA84A-0773-404F-531D-23AF9EE68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20-7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735C3E-4B46-D566-CEF3-0A8DC78AFF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C1A40D-EF96-E5D0-CFB4-72A6BCAFE5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4</a:t>
            </a:fld>
            <a:endParaRPr lang="pt-pt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E3ECE3B-B2DE-5ABE-C0AE-B74F60D9A2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Vantagens do produto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A7A63D-9457-B093-5B80-8D16A2C1A80C}"/>
              </a:ext>
            </a:extLst>
          </p:cNvPr>
          <p:cNvSpPr/>
          <p:nvPr/>
        </p:nvSpPr>
        <p:spPr>
          <a:xfrm>
            <a:off x="8968518" y="3282474"/>
            <a:ext cx="2742105" cy="686213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Roboto Medium" panose="02000000000000000000" pitchFamily="2" charset="0"/>
              </a:rPr>
              <a:t>Caixa de armazenamento</a:t>
            </a:r>
          </a:p>
          <a:p>
            <a:pPr algn="r" rtl="0">
              <a:lnSpc>
                <a:spcPct val="120000"/>
              </a:lnSpc>
            </a:pPr>
            <a:r>
              <a:rPr lang="pt-pt" sz="1100" b="0" i="0" u="none" baseline="0" dirty="0"/>
              <a:t>Armazenar ferramentas e acessórios no porta-luvas ou nas superfícies texturadas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FB05012-A1E8-0EE1-37F8-A8A0F53C8EB0}"/>
              </a:ext>
            </a:extLst>
          </p:cNvPr>
          <p:cNvSpPr/>
          <p:nvPr/>
        </p:nvSpPr>
        <p:spPr>
          <a:xfrm>
            <a:off x="479422" y="2716690"/>
            <a:ext cx="3003556" cy="483081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Roboto Medium" panose="02000000000000000000" pitchFamily="2" charset="0"/>
              </a:rPr>
              <a:t>Mangueira com armadura de aço</a:t>
            </a:r>
            <a:br>
              <a:rPr lang="pt-pt" sz="1100"/>
            </a:br>
            <a:r>
              <a:rPr lang="pt-pt" sz="1100" b="0" i="0" u="none" baseline="0"/>
              <a:t>Mangueira durável e flexível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68E7A15-11DF-3EB8-F130-C4F8F8D3A3EE}"/>
              </a:ext>
            </a:extLst>
          </p:cNvPr>
          <p:cNvSpPr/>
          <p:nvPr/>
        </p:nvSpPr>
        <p:spPr>
          <a:xfrm>
            <a:off x="500752" y="4721117"/>
            <a:ext cx="2625917" cy="686213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Roboto Medium" panose="02000000000000000000" pitchFamily="2" charset="0"/>
              </a:rPr>
              <a:t>Lança universal</a:t>
            </a:r>
            <a:br>
              <a:rPr lang="pt-pt" sz="1100"/>
            </a:br>
            <a:r>
              <a:rPr lang="pt-pt" sz="1100" b="0" i="0" u="none" baseline="0"/>
              <a:t>Lança de bocal simples que faz o trabalho com um bocal de alta eficiência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BEB5549-7585-9BF1-1D21-971E5BF69BD3}"/>
              </a:ext>
            </a:extLst>
          </p:cNvPr>
          <p:cNvSpPr/>
          <p:nvPr/>
        </p:nvSpPr>
        <p:spPr>
          <a:xfrm>
            <a:off x="7934633" y="4352152"/>
            <a:ext cx="3795604" cy="686213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Roboto Medium" panose="02000000000000000000" pitchFamily="2" charset="0"/>
              </a:rPr>
              <a:t>Ranhuras para empilhador </a:t>
            </a:r>
            <a:br>
              <a:rPr lang="pt-pt" sz="1100" dirty="0"/>
            </a:br>
            <a:r>
              <a:rPr lang="pt-pt" sz="1100" b="0" i="0" u="none" baseline="0" dirty="0"/>
              <a:t>Eleve ou mova a máquina de forma estável com um empilhador 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E5C5D8C-3875-2D67-DB16-0C778F8395F7}"/>
              </a:ext>
            </a:extLst>
          </p:cNvPr>
          <p:cNvSpPr/>
          <p:nvPr/>
        </p:nvSpPr>
        <p:spPr>
          <a:xfrm>
            <a:off x="8740141" y="1252891"/>
            <a:ext cx="2937815" cy="686213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Roboto Medium" panose="02000000000000000000" pitchFamily="2" charset="0"/>
              </a:rPr>
              <a:t>Pistola Ergo 2000 com acoplamento rápido </a:t>
            </a:r>
            <a:br>
              <a:rPr lang="pt-pt" sz="1100">
                <a:latin typeface="+mj-lt"/>
                <a:ea typeface="Roboto Medium" panose="02000000000000000000" pitchFamily="2" charset="0"/>
              </a:rPr>
            </a:br>
            <a:r>
              <a:rPr lang="pt-pt" sz="1100" b="0" i="0" u="none" baseline="0"/>
              <a:t>Conceito de acessórios ergonómicos que</a:t>
            </a:r>
          </a:p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melhora o manuseamento e reduz o esforço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182612EE-8002-FE8F-7BBC-B726B7750FB0}"/>
              </a:ext>
            </a:extLst>
          </p:cNvPr>
          <p:cNvSpPr/>
          <p:nvPr/>
        </p:nvSpPr>
        <p:spPr>
          <a:xfrm>
            <a:off x="8550018" y="2213800"/>
            <a:ext cx="3127938" cy="483081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Roboto Medium" panose="02000000000000000000" pitchFamily="2" charset="0"/>
              </a:rPr>
              <a:t>Interface do utilizador atualizada</a:t>
            </a:r>
            <a:br>
              <a:rPr lang="pt-pt" sz="1100" dirty="0">
                <a:latin typeface="Roboto Medium" panose="02000000000000000000" pitchFamily="2" charset="0"/>
                <a:ea typeface="Roboto Medium" panose="02000000000000000000" pitchFamily="2" charset="0"/>
              </a:rPr>
            </a:br>
            <a:r>
              <a:rPr lang="pt-pt" sz="1100" b="0" i="0" u="none" baseline="0" dirty="0"/>
              <a:t>Marcador simples com seleção do modo de água fria e quente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60172B11-AFF3-99BB-07B7-670E8F6BAAB9}"/>
              </a:ext>
            </a:extLst>
          </p:cNvPr>
          <p:cNvSpPr/>
          <p:nvPr/>
        </p:nvSpPr>
        <p:spPr>
          <a:xfrm>
            <a:off x="459415" y="1606367"/>
            <a:ext cx="4018843" cy="686213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Roboto Medium" panose="02000000000000000000" pitchFamily="2" charset="0"/>
              </a:rPr>
              <a:t>Gancho do cabo rotativo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Gestão rápida e fácil do cabo de alimentação (conceito de desenrolamento) para uma instalação e armazenamento rápidos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B3AA4DE-74FC-04C3-37FE-DB8EEC183513}"/>
              </a:ext>
            </a:extLst>
          </p:cNvPr>
          <p:cNvSpPr/>
          <p:nvPr/>
        </p:nvSpPr>
        <p:spPr>
          <a:xfrm>
            <a:off x="488946" y="3895487"/>
            <a:ext cx="3438747" cy="483081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Roboto Medium" panose="02000000000000000000" pitchFamily="2" charset="0"/>
              </a:rPr>
              <a:t>Travão de estacionamento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Travão fácil de estacionar e mover com o pé</a:t>
            </a:r>
          </a:p>
        </p:txBody>
      </p:sp>
      <p:cxnSp>
        <p:nvCxnSpPr>
          <p:cNvPr id="109" name="Straight Arrow Connector 88">
            <a:extLst>
              <a:ext uri="{FF2B5EF4-FFF2-40B4-BE49-F238E27FC236}">
                <a16:creationId xmlns:a16="http://schemas.microsoft.com/office/drawing/2014/main" id="{529321CB-3437-75AB-F04B-9DF8563BBDD4}"/>
              </a:ext>
            </a:extLst>
          </p:cNvPr>
          <p:cNvCxnSpPr>
            <a:cxnSpLocks/>
          </p:cNvCxnSpPr>
          <p:nvPr/>
        </p:nvCxnSpPr>
        <p:spPr>
          <a:xfrm rot="10800000">
            <a:off x="5029705" y="1571655"/>
            <a:ext cx="6637185" cy="359199"/>
          </a:xfrm>
          <a:prstGeom prst="bentConnector3">
            <a:avLst>
              <a:gd name="adj1" fmla="val 4210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38">
            <a:extLst>
              <a:ext uri="{FF2B5EF4-FFF2-40B4-BE49-F238E27FC236}">
                <a16:creationId xmlns:a16="http://schemas.microsoft.com/office/drawing/2014/main" id="{89518F9F-5898-B493-8284-1DD384CDB242}"/>
              </a:ext>
            </a:extLst>
          </p:cNvPr>
          <p:cNvCxnSpPr>
            <a:cxnSpLocks/>
          </p:cNvCxnSpPr>
          <p:nvPr/>
        </p:nvCxnSpPr>
        <p:spPr>
          <a:xfrm flipV="1">
            <a:off x="488946" y="4072661"/>
            <a:ext cx="5121966" cy="1359174"/>
          </a:xfrm>
          <a:prstGeom prst="bentConnector3">
            <a:avLst>
              <a:gd name="adj1" fmla="val 92748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88">
            <a:extLst>
              <a:ext uri="{FF2B5EF4-FFF2-40B4-BE49-F238E27FC236}">
                <a16:creationId xmlns:a16="http://schemas.microsoft.com/office/drawing/2014/main" id="{723AFFFE-7949-C0D3-2CE6-ACFA16C3212A}"/>
              </a:ext>
            </a:extLst>
          </p:cNvPr>
          <p:cNvCxnSpPr>
            <a:cxnSpLocks/>
          </p:cNvCxnSpPr>
          <p:nvPr/>
        </p:nvCxnSpPr>
        <p:spPr>
          <a:xfrm>
            <a:off x="488946" y="3264132"/>
            <a:ext cx="3861381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Arrow Connector 88">
            <a:extLst>
              <a:ext uri="{FF2B5EF4-FFF2-40B4-BE49-F238E27FC236}">
                <a16:creationId xmlns:a16="http://schemas.microsoft.com/office/drawing/2014/main" id="{9DDCD387-773F-9FD3-B6AD-4716226243C0}"/>
              </a:ext>
            </a:extLst>
          </p:cNvPr>
          <p:cNvCxnSpPr>
            <a:cxnSpLocks/>
          </p:cNvCxnSpPr>
          <p:nvPr/>
        </p:nvCxnSpPr>
        <p:spPr>
          <a:xfrm>
            <a:off x="453911" y="4396019"/>
            <a:ext cx="410781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88">
            <a:extLst>
              <a:ext uri="{FF2B5EF4-FFF2-40B4-BE49-F238E27FC236}">
                <a16:creationId xmlns:a16="http://schemas.microsoft.com/office/drawing/2014/main" id="{08E7BD30-FD4B-90AE-22E5-48FC9F19E180}"/>
              </a:ext>
            </a:extLst>
          </p:cNvPr>
          <p:cNvCxnSpPr>
            <a:cxnSpLocks/>
          </p:cNvCxnSpPr>
          <p:nvPr/>
        </p:nvCxnSpPr>
        <p:spPr>
          <a:xfrm>
            <a:off x="428298" y="2292580"/>
            <a:ext cx="392202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88">
            <a:extLst>
              <a:ext uri="{FF2B5EF4-FFF2-40B4-BE49-F238E27FC236}">
                <a16:creationId xmlns:a16="http://schemas.microsoft.com/office/drawing/2014/main" id="{9944A588-7E9D-E806-457C-F1D2CC3CCBFA}"/>
              </a:ext>
            </a:extLst>
          </p:cNvPr>
          <p:cNvCxnSpPr>
            <a:cxnSpLocks/>
          </p:cNvCxnSpPr>
          <p:nvPr/>
        </p:nvCxnSpPr>
        <p:spPr>
          <a:xfrm rot="10800000">
            <a:off x="6099498" y="2121872"/>
            <a:ext cx="5664204" cy="1791067"/>
          </a:xfrm>
          <a:prstGeom prst="bentConnector3">
            <a:avLst>
              <a:gd name="adj1" fmla="val 6578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88">
            <a:extLst>
              <a:ext uri="{FF2B5EF4-FFF2-40B4-BE49-F238E27FC236}">
                <a16:creationId xmlns:a16="http://schemas.microsoft.com/office/drawing/2014/main" id="{78889065-29D1-8F90-9ADE-6F9E7837E5B4}"/>
              </a:ext>
            </a:extLst>
          </p:cNvPr>
          <p:cNvCxnSpPr>
            <a:cxnSpLocks/>
          </p:cNvCxnSpPr>
          <p:nvPr/>
        </p:nvCxnSpPr>
        <p:spPr>
          <a:xfrm flipH="1" flipV="1">
            <a:off x="8157858" y="5001173"/>
            <a:ext cx="3606021" cy="22858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88">
            <a:extLst>
              <a:ext uri="{FF2B5EF4-FFF2-40B4-BE49-F238E27FC236}">
                <a16:creationId xmlns:a16="http://schemas.microsoft.com/office/drawing/2014/main" id="{DA9B5EB6-B75E-5FEC-C5D2-7054C4A2EF44}"/>
              </a:ext>
            </a:extLst>
          </p:cNvPr>
          <p:cNvCxnSpPr>
            <a:cxnSpLocks/>
          </p:cNvCxnSpPr>
          <p:nvPr/>
        </p:nvCxnSpPr>
        <p:spPr>
          <a:xfrm rot="10800000">
            <a:off x="5538954" y="1879980"/>
            <a:ext cx="6157576" cy="943328"/>
          </a:xfrm>
          <a:prstGeom prst="bentConnector3">
            <a:avLst>
              <a:gd name="adj1" fmla="val 52939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105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2413C647-FC33-6680-D080-A93A7BB90B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Todas as máquinas Standard estão equipadas com um botão simples para ligar/desligar a máquina e selecionar a temperatura pretendida. </a:t>
            </a:r>
          </a:p>
          <a:p>
            <a:pPr algn="l" rtl="0"/>
            <a:r>
              <a:rPr lang="pt-pt" b="0" i="0" u="none" baseline="0"/>
              <a:t>As máquinas Standard têm as seguintes predefinições de limpeza:</a:t>
            </a:r>
          </a:p>
          <a:p>
            <a:pPr lvl="1" algn="l" rtl="0"/>
            <a:r>
              <a:rPr lang="pt-pt" b="0" i="0" u="none" baseline="0"/>
              <a:t>Frio</a:t>
            </a:r>
          </a:p>
          <a:p>
            <a:pPr lvl="1" algn="l" rtl="0"/>
            <a:r>
              <a:rPr lang="pt-pt" b="0" i="0" u="none" baseline="0"/>
              <a:t>40-90 graus de água quente em incrementos de 10 graus.</a:t>
            </a:r>
          </a:p>
          <a:p>
            <a:pPr marL="0" indent="0" algn="l" rtl="0">
              <a:buNone/>
            </a:pPr>
            <a:endParaRPr lang="pt-pt" dirty="0"/>
          </a:p>
          <a:p>
            <a:pPr lvl="1" algn="l" rtl="0"/>
            <a:endParaRPr lang="pt-pt" noProof="0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01D848D-0BEF-0BD4-D6A3-57D2574C6EC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10CCA8B1-78EC-CB7D-F38F-7D23DA5DE4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5</a:t>
            </a:fld>
            <a:endParaRPr lang="pt-pt" noProof="0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57477601-6F42-D982-CEB4-375F0D4276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Interação precisa com a máquina 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C60FE40-FBD5-925B-0EF9-BC5A14C666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Interface do utilizador atualizada</a:t>
            </a:r>
          </a:p>
        </p:txBody>
      </p:sp>
      <p:pic>
        <p:nvPicPr>
          <p:cNvPr id="9" name="Picture 2" descr="Et billede, der indeholder apparat/anordning&#10;&#10;AI-genereret indhold kan være ukorrekt.">
            <a:extLst>
              <a:ext uri="{FF2B5EF4-FFF2-40B4-BE49-F238E27FC236}">
                <a16:creationId xmlns:a16="http://schemas.microsoft.com/office/drawing/2014/main" id="{16BB079D-B407-CAC4-3D2E-07F800B5938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56" b="1556"/>
          <a:stretch/>
        </p:blipFill>
        <p:spPr>
          <a:xfrm>
            <a:off x="646930" y="1123581"/>
            <a:ext cx="4723242" cy="4610837"/>
          </a:xfrm>
          <a:prstGeom prst="rect">
            <a:avLst/>
          </a:prstGeom>
          <a:solidFill>
            <a:schemeClr val="bg1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5106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0F0854-8200-5D3F-C97E-31FD1C480B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5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B2FD78-BC3E-F2AD-5F46-1BE94F7F85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Eficiênci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AAF5FA-0373-B035-0F6A-069BB1A5D3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8CF1E1-D0CA-B658-7C7C-02D9119E53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6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769325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56A5E8-FF06-8AEE-DEDC-72B1D132014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087655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r>
              <a:rPr lang="pt-pt" b="0" i="0" u="none" baseline="0"/>
              <a:t>CONFIDENCIAL D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90DA94-54B9-1183-7942-1A55230AC8E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479426" y="6529068"/>
            <a:ext cx="270170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fld id="{6C385236-B7BA-4938-9EA6-6DEC8CA653D7}" type="slidenum">
              <a:rPr/>
              <a:pPr>
                <a:spcAft>
                  <a:spcPts val="600"/>
                </a:spcAft>
              </a:pPr>
              <a:t>27</a:t>
            </a:fld>
            <a:endParaRPr lang="pt-pt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B0CDEAA-632A-84CC-1E87-F0EF0E2DBC5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29107"/>
            <a:ext cx="5453230" cy="2575295"/>
          </a:xfrm>
          <a:effectLst/>
        </p:spPr>
        <p:txBody>
          <a:bodyPr lIns="0" tIns="0" rIns="0" bIns="0">
            <a:normAutofit/>
          </a:bodyPr>
          <a:lstStyle/>
          <a:p>
            <a:pPr marL="0" indent="0" algn="l" rtl="0">
              <a:buNone/>
            </a:pPr>
            <a:r>
              <a:rPr lang="pt-pt" b="0" i="0" u="none" baseline="0"/>
              <a:t>As predefinições foram concebidas para abranger a maioria das tarefas de limpeza de forma eficiente.  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342900" indent="-342900" algn="l" rtl="0">
              <a:buFont typeface="+mj-lt"/>
              <a:buAutoNum type="arabicPeriod"/>
            </a:pPr>
            <a:r>
              <a:rPr lang="pt-pt" b="0" i="0" u="none" baseline="0"/>
              <a:t>Detergente (frio e dosagem de 3% de detergente)*</a:t>
            </a:r>
          </a:p>
          <a:p>
            <a:pPr marL="342900" indent="-342900" algn="l" rtl="0">
              <a:buFont typeface="+mj-lt"/>
              <a:buAutoNum type="arabicPeriod"/>
            </a:pPr>
            <a:r>
              <a:rPr lang="pt-pt" b="0" i="0" u="none" baseline="0"/>
              <a:t>Limpeza a frio </a:t>
            </a:r>
          </a:p>
          <a:p>
            <a:pPr marL="342900" indent="-342900" algn="l" rtl="0">
              <a:buFont typeface="+mj-lt"/>
              <a:buAutoNum type="arabicPeriod"/>
            </a:pPr>
            <a:r>
              <a:rPr lang="pt-pt" b="0" i="0" u="none" baseline="0"/>
              <a:t>Limpeza inteligente (45 graus) - ideal para a maioria das tarefas</a:t>
            </a:r>
          </a:p>
          <a:p>
            <a:pPr marL="342900" indent="-342900" algn="l" rtl="0">
              <a:buFont typeface="+mj-lt"/>
              <a:buAutoNum type="arabicPeriod"/>
            </a:pPr>
            <a:r>
              <a:rPr lang="pt-pt" b="0" i="0" u="none" baseline="0"/>
              <a:t>Limpeza a quente (60 graus)*</a:t>
            </a:r>
          </a:p>
          <a:p>
            <a:pPr marL="342900" indent="-342900" algn="l" rtl="0">
              <a:buFont typeface="+mj-lt"/>
              <a:buAutoNum type="arabicPeriod"/>
            </a:pPr>
            <a:r>
              <a:rPr lang="pt-pt" b="0" i="0" u="none" baseline="0"/>
              <a:t>Limpeza a vapor (150 graus)*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67A0345-F82C-08E8-E42A-1BABFC63FE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Poupe energia, combustível e detergente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941D1D-2786-BBED-B956-5AD319363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anchor="t">
            <a:noAutofit/>
          </a:bodyPr>
          <a:lstStyle/>
          <a:p>
            <a:pPr algn="l" rtl="0"/>
            <a:r>
              <a:rPr lang="pt-pt" b="1" i="0" u="none" baseline="0"/>
              <a:t>Predefinições para uma limpeza eficiente </a:t>
            </a:r>
          </a:p>
        </p:txBody>
      </p:sp>
      <p:sp>
        <p:nvSpPr>
          <p:cNvPr id="3" name="Pladsholder til indhold 3">
            <a:extLst>
              <a:ext uri="{FF2B5EF4-FFF2-40B4-BE49-F238E27FC236}">
                <a16:creationId xmlns:a16="http://schemas.microsoft.com/office/drawing/2014/main" id="{D69503F9-5E21-72A1-7FEE-16F495B346B8}"/>
              </a:ext>
            </a:extLst>
          </p:cNvPr>
          <p:cNvSpPr txBox="1">
            <a:spLocks/>
          </p:cNvSpPr>
          <p:nvPr/>
        </p:nvSpPr>
        <p:spPr>
          <a:xfrm>
            <a:off x="479425" y="6155029"/>
            <a:ext cx="5453230" cy="153889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pt-pt" sz="900" b="0" i="0" u="none" baseline="0"/>
              <a:t>*Predefinições ajustáveis rapidamente – mantenha o botão de seleção pressionado durante 2 segundos e ajuste a temperatura e o detergente. </a:t>
            </a:r>
            <a:endParaRPr lang="pt-pt" sz="900" noProof="0" dirty="0"/>
          </a:p>
        </p:txBody>
      </p:sp>
      <p:pic>
        <p:nvPicPr>
          <p:cNvPr id="2" name="Picture 1" descr="A screen shot of a device&#10;&#10;Description automatically generated">
            <a:extLst>
              <a:ext uri="{FF2B5EF4-FFF2-40B4-BE49-F238E27FC236}">
                <a16:creationId xmlns:a16="http://schemas.microsoft.com/office/drawing/2014/main" id="{D8FF8C1B-3BDB-482D-9FB0-2A6615C5465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9980" y="1429107"/>
            <a:ext cx="5640643" cy="3217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44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5BEC22-7496-4A0F-EEC1-FC3D246BEB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>
            <a:extLst>
              <a:ext uri="{FF2B5EF4-FFF2-40B4-BE49-F238E27FC236}">
                <a16:creationId xmlns:a16="http://schemas.microsoft.com/office/drawing/2014/main" id="{1E62839F-C336-B885-2CF0-00E695401B5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51808" y="2083144"/>
            <a:ext cx="3776441" cy="3504762"/>
          </a:xfrm>
          <a:prstGeom prst="rect">
            <a:avLst/>
          </a:prstGeom>
        </p:spPr>
      </p:pic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46394FBB-7282-6DD4-7A8E-A7A1870133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46394FBB-7282-6DD4-7A8E-A7A187013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EBCEE471-80AE-D34D-182C-0E0B35A78EB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pt-pt" sz="1000" b="0" i="0" u="none" strike="noStrike" kern="1200" cap="none" spc="0" normalizeH="0" baseline="0" noProof="0" dirty="0">
              <a:ln>
                <a:noFill/>
              </a:ln>
              <a:solidFill>
                <a:srgbClr val="B3BBC5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EE5729E-103C-3554-38CC-D081AAFC7B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pt-pt" b="0" i="0" u="none" baseline="0">
                <a:ea typeface="Roboto Light"/>
                <a:cs typeface="Roboto Light"/>
              </a:rPr>
              <a:t>Caldeira energeticamente eficiente vs. Caldeira EcoPower  </a:t>
            </a:r>
            <a:endParaRPr lang="pt-pt" noProof="0" dirty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513B0B09-289B-7FE4-340F-CB922266F3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Concebida para a eficiência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E75F18-CB35-8519-FA82-C5655F2A8249}"/>
              </a:ext>
            </a:extLst>
          </p:cNvPr>
          <p:cNvSpPr txBox="1"/>
          <p:nvPr/>
        </p:nvSpPr>
        <p:spPr>
          <a:xfrm>
            <a:off x="6867175" y="5522559"/>
            <a:ext cx="2786872" cy="255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rtl="0"/>
            <a:r>
              <a:rPr lang="pt-pt" sz="1600" b="0" i="0" u="none" baseline="0"/>
              <a:t>Caldeira com eficiência energétic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E23494-806A-1F81-6E51-2842C0142050}"/>
              </a:ext>
            </a:extLst>
          </p:cNvPr>
          <p:cNvSpPr txBox="1"/>
          <p:nvPr/>
        </p:nvSpPr>
        <p:spPr>
          <a:xfrm>
            <a:off x="1247017" y="5522559"/>
            <a:ext cx="2568956" cy="255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rtl="0"/>
            <a:r>
              <a:rPr lang="pt-pt" sz="1600" b="0" i="0" u="none" baseline="0"/>
              <a:t>Caldeira EcoPower™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C48CF4-EE1C-9E8B-BD7D-67F955E471D0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66872" y="2314379"/>
            <a:ext cx="2713290" cy="3097751"/>
          </a:xfrm>
          <a:prstGeom prst="rect">
            <a:avLst/>
          </a:prstGeom>
        </p:spPr>
      </p:pic>
      <p:cxnSp>
        <p:nvCxnSpPr>
          <p:cNvPr id="16" name="Straight Arrow Connector 38">
            <a:extLst>
              <a:ext uri="{FF2B5EF4-FFF2-40B4-BE49-F238E27FC236}">
                <a16:creationId xmlns:a16="http://schemas.microsoft.com/office/drawing/2014/main" id="{3D702310-E9D5-BA09-BA99-6B06F578944A}"/>
              </a:ext>
            </a:extLst>
          </p:cNvPr>
          <p:cNvCxnSpPr>
            <a:cxnSpLocks/>
          </p:cNvCxnSpPr>
          <p:nvPr/>
        </p:nvCxnSpPr>
        <p:spPr>
          <a:xfrm>
            <a:off x="488946" y="2244432"/>
            <a:ext cx="1965753" cy="649206"/>
          </a:xfrm>
          <a:prstGeom prst="bentConnector3">
            <a:avLst>
              <a:gd name="adj1" fmla="val 9975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38">
            <a:extLst>
              <a:ext uri="{FF2B5EF4-FFF2-40B4-BE49-F238E27FC236}">
                <a16:creationId xmlns:a16="http://schemas.microsoft.com/office/drawing/2014/main" id="{B2BCF766-7D1C-8220-622B-81B9022386E6}"/>
              </a:ext>
            </a:extLst>
          </p:cNvPr>
          <p:cNvCxnSpPr>
            <a:cxnSpLocks/>
          </p:cNvCxnSpPr>
          <p:nvPr/>
        </p:nvCxnSpPr>
        <p:spPr>
          <a:xfrm flipV="1">
            <a:off x="488946" y="2893638"/>
            <a:ext cx="1613685" cy="6426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8">
            <a:extLst>
              <a:ext uri="{FF2B5EF4-FFF2-40B4-BE49-F238E27FC236}">
                <a16:creationId xmlns:a16="http://schemas.microsoft.com/office/drawing/2014/main" id="{C8A82EDB-D345-E713-15E8-6368E2F9698D}"/>
              </a:ext>
            </a:extLst>
          </p:cNvPr>
          <p:cNvCxnSpPr>
            <a:cxnSpLocks/>
          </p:cNvCxnSpPr>
          <p:nvPr/>
        </p:nvCxnSpPr>
        <p:spPr>
          <a:xfrm flipV="1">
            <a:off x="488946" y="3267771"/>
            <a:ext cx="1965753" cy="308275"/>
          </a:xfrm>
          <a:prstGeom prst="bentConnector3">
            <a:avLst>
              <a:gd name="adj1" fmla="val 6368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38">
            <a:extLst>
              <a:ext uri="{FF2B5EF4-FFF2-40B4-BE49-F238E27FC236}">
                <a16:creationId xmlns:a16="http://schemas.microsoft.com/office/drawing/2014/main" id="{750CD292-D697-4882-9666-30EA916512DF}"/>
              </a:ext>
            </a:extLst>
          </p:cNvPr>
          <p:cNvCxnSpPr>
            <a:cxnSpLocks/>
          </p:cNvCxnSpPr>
          <p:nvPr/>
        </p:nvCxnSpPr>
        <p:spPr>
          <a:xfrm>
            <a:off x="488946" y="5117493"/>
            <a:ext cx="1422981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38">
            <a:extLst>
              <a:ext uri="{FF2B5EF4-FFF2-40B4-BE49-F238E27FC236}">
                <a16:creationId xmlns:a16="http://schemas.microsoft.com/office/drawing/2014/main" id="{29789E81-2E39-2F50-8E15-AC9DE0FE076B}"/>
              </a:ext>
            </a:extLst>
          </p:cNvPr>
          <p:cNvCxnSpPr>
            <a:cxnSpLocks/>
          </p:cNvCxnSpPr>
          <p:nvPr/>
        </p:nvCxnSpPr>
        <p:spPr>
          <a:xfrm rot="10800000" flipV="1">
            <a:off x="3141334" y="2581835"/>
            <a:ext cx="759077" cy="341142"/>
          </a:xfrm>
          <a:prstGeom prst="bentConnector3">
            <a:avLst>
              <a:gd name="adj1" fmla="val 98846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38">
            <a:extLst>
              <a:ext uri="{FF2B5EF4-FFF2-40B4-BE49-F238E27FC236}">
                <a16:creationId xmlns:a16="http://schemas.microsoft.com/office/drawing/2014/main" id="{D0336A0C-06D2-B0D2-4764-0BDA9F165B8D}"/>
              </a:ext>
            </a:extLst>
          </p:cNvPr>
          <p:cNvCxnSpPr>
            <a:cxnSpLocks/>
          </p:cNvCxnSpPr>
          <p:nvPr/>
        </p:nvCxnSpPr>
        <p:spPr>
          <a:xfrm flipV="1">
            <a:off x="3965720" y="4132472"/>
            <a:ext cx="1" cy="576445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E068D015-2946-F481-CFC3-AF87551A03AA}"/>
              </a:ext>
            </a:extLst>
          </p:cNvPr>
          <p:cNvSpPr/>
          <p:nvPr/>
        </p:nvSpPr>
        <p:spPr>
          <a:xfrm>
            <a:off x="479421" y="1965058"/>
            <a:ext cx="1535193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Chaminé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6567341-06CC-8C69-3740-8F392F08CD0C}"/>
              </a:ext>
            </a:extLst>
          </p:cNvPr>
          <p:cNvSpPr/>
          <p:nvPr/>
        </p:nvSpPr>
        <p:spPr>
          <a:xfrm>
            <a:off x="479421" y="2620116"/>
            <a:ext cx="1432505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Saída de água quent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39555AC-F8C6-CD03-45D9-6F42A6D5D463}"/>
              </a:ext>
            </a:extLst>
          </p:cNvPr>
          <p:cNvSpPr/>
          <p:nvPr/>
        </p:nvSpPr>
        <p:spPr>
          <a:xfrm>
            <a:off x="479421" y="3292465"/>
            <a:ext cx="1535193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Bocal de óleo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93D8686-A155-E4D2-6092-B40F023AE0AB}"/>
              </a:ext>
            </a:extLst>
          </p:cNvPr>
          <p:cNvSpPr/>
          <p:nvPr/>
        </p:nvSpPr>
        <p:spPr>
          <a:xfrm>
            <a:off x="479422" y="4837379"/>
            <a:ext cx="982640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Isolamento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14C5F87-E053-90CC-2324-0F77F41765AD}"/>
              </a:ext>
            </a:extLst>
          </p:cNvPr>
          <p:cNvSpPr/>
          <p:nvPr/>
        </p:nvSpPr>
        <p:spPr>
          <a:xfrm>
            <a:off x="3692890" y="4759576"/>
            <a:ext cx="982640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Unidade do ventilador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9949CE6-52EC-958E-059A-AF56B084B030}"/>
              </a:ext>
            </a:extLst>
          </p:cNvPr>
          <p:cNvSpPr/>
          <p:nvPr/>
        </p:nvSpPr>
        <p:spPr>
          <a:xfrm>
            <a:off x="3140338" y="2092984"/>
            <a:ext cx="1260298" cy="483081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Água fria da torneira da bomba</a:t>
            </a:r>
          </a:p>
        </p:txBody>
      </p:sp>
      <p:cxnSp>
        <p:nvCxnSpPr>
          <p:cNvPr id="63" name="Straight Arrow Connector 38">
            <a:extLst>
              <a:ext uri="{FF2B5EF4-FFF2-40B4-BE49-F238E27FC236}">
                <a16:creationId xmlns:a16="http://schemas.microsoft.com/office/drawing/2014/main" id="{26F7D493-AE58-E580-D6AC-6D8DAA6358A3}"/>
              </a:ext>
            </a:extLst>
          </p:cNvPr>
          <p:cNvCxnSpPr>
            <a:cxnSpLocks/>
          </p:cNvCxnSpPr>
          <p:nvPr/>
        </p:nvCxnSpPr>
        <p:spPr>
          <a:xfrm>
            <a:off x="5973334" y="2244432"/>
            <a:ext cx="1965753" cy="562336"/>
          </a:xfrm>
          <a:prstGeom prst="bentConnector3">
            <a:avLst>
              <a:gd name="adj1" fmla="val 9975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BC99CD4C-5FE2-3335-687C-828307738C5B}"/>
              </a:ext>
            </a:extLst>
          </p:cNvPr>
          <p:cNvSpPr/>
          <p:nvPr/>
        </p:nvSpPr>
        <p:spPr>
          <a:xfrm>
            <a:off x="5963809" y="1965058"/>
            <a:ext cx="1535193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Chaminé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40BD2FE-3BB4-2AA9-571D-7F6B23341245}"/>
              </a:ext>
            </a:extLst>
          </p:cNvPr>
          <p:cNvSpPr/>
          <p:nvPr/>
        </p:nvSpPr>
        <p:spPr>
          <a:xfrm>
            <a:off x="5963809" y="2449964"/>
            <a:ext cx="1535192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Saída de água quente</a:t>
            </a:r>
          </a:p>
        </p:txBody>
      </p:sp>
      <p:cxnSp>
        <p:nvCxnSpPr>
          <p:cNvPr id="71" name="Straight Arrow Connector 38">
            <a:extLst>
              <a:ext uri="{FF2B5EF4-FFF2-40B4-BE49-F238E27FC236}">
                <a16:creationId xmlns:a16="http://schemas.microsoft.com/office/drawing/2014/main" id="{A0EE092E-7403-6AEF-E677-5AC79FBB4932}"/>
              </a:ext>
            </a:extLst>
          </p:cNvPr>
          <p:cNvCxnSpPr>
            <a:cxnSpLocks/>
          </p:cNvCxnSpPr>
          <p:nvPr/>
        </p:nvCxnSpPr>
        <p:spPr>
          <a:xfrm>
            <a:off x="5982858" y="3353043"/>
            <a:ext cx="1361681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>
            <a:extLst>
              <a:ext uri="{FF2B5EF4-FFF2-40B4-BE49-F238E27FC236}">
                <a16:creationId xmlns:a16="http://schemas.microsoft.com/office/drawing/2014/main" id="{79CD0CBA-8642-5BF7-36DE-75427472418D}"/>
              </a:ext>
            </a:extLst>
          </p:cNvPr>
          <p:cNvSpPr/>
          <p:nvPr/>
        </p:nvSpPr>
        <p:spPr>
          <a:xfrm>
            <a:off x="5973334" y="3060034"/>
            <a:ext cx="1380730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Água fria da torneira</a:t>
            </a:r>
          </a:p>
        </p:txBody>
      </p:sp>
      <p:cxnSp>
        <p:nvCxnSpPr>
          <p:cNvPr id="74" name="Straight Arrow Connector 38">
            <a:extLst>
              <a:ext uri="{FF2B5EF4-FFF2-40B4-BE49-F238E27FC236}">
                <a16:creationId xmlns:a16="http://schemas.microsoft.com/office/drawing/2014/main" id="{71F00BEE-9882-0E3F-E77F-DDC8DF8DD93C}"/>
              </a:ext>
            </a:extLst>
          </p:cNvPr>
          <p:cNvCxnSpPr>
            <a:cxnSpLocks/>
          </p:cNvCxnSpPr>
          <p:nvPr/>
        </p:nvCxnSpPr>
        <p:spPr>
          <a:xfrm>
            <a:off x="5973334" y="2723786"/>
            <a:ext cx="1796621" cy="215762"/>
          </a:xfrm>
          <a:prstGeom prst="bentConnector3">
            <a:avLst>
              <a:gd name="adj1" fmla="val 92186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38">
            <a:extLst>
              <a:ext uri="{FF2B5EF4-FFF2-40B4-BE49-F238E27FC236}">
                <a16:creationId xmlns:a16="http://schemas.microsoft.com/office/drawing/2014/main" id="{B59050B8-8E7D-BD58-6DBF-38081A958C32}"/>
              </a:ext>
            </a:extLst>
          </p:cNvPr>
          <p:cNvCxnSpPr>
            <a:cxnSpLocks/>
            <a:stCxn id="85" idx="2"/>
          </p:cNvCxnSpPr>
          <p:nvPr/>
        </p:nvCxnSpPr>
        <p:spPr>
          <a:xfrm rot="5400000">
            <a:off x="9879014" y="3427395"/>
            <a:ext cx="778745" cy="2275800"/>
          </a:xfrm>
          <a:prstGeom prst="bentConnector2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3BFA9080-2A8B-EE5C-A5F0-355211F00165}"/>
              </a:ext>
            </a:extLst>
          </p:cNvPr>
          <p:cNvSpPr/>
          <p:nvPr/>
        </p:nvSpPr>
        <p:spPr>
          <a:xfrm>
            <a:off x="11099996" y="3895975"/>
            <a:ext cx="612579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lang="pt-pt" sz="1100" b="0" i="0" u="none" baseline="0"/>
              <a:t>Bomba</a:t>
            </a:r>
          </a:p>
        </p:txBody>
      </p:sp>
      <p:cxnSp>
        <p:nvCxnSpPr>
          <p:cNvPr id="86" name="Straight Arrow Connector 38">
            <a:extLst>
              <a:ext uri="{FF2B5EF4-FFF2-40B4-BE49-F238E27FC236}">
                <a16:creationId xmlns:a16="http://schemas.microsoft.com/office/drawing/2014/main" id="{3BEC7EA5-B9E2-74FF-0C50-D1499DE86A0B}"/>
              </a:ext>
            </a:extLst>
          </p:cNvPr>
          <p:cNvCxnSpPr>
            <a:cxnSpLocks/>
            <a:stCxn id="85" idx="0"/>
          </p:cNvCxnSpPr>
          <p:nvPr/>
        </p:nvCxnSpPr>
        <p:spPr>
          <a:xfrm rot="16200000" flipV="1">
            <a:off x="9526743" y="2016431"/>
            <a:ext cx="1037157" cy="2721931"/>
          </a:xfrm>
          <a:prstGeom prst="bentConnector2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DD7C6B41-99E5-B865-A920-E11A943E3A58}"/>
              </a:ext>
            </a:extLst>
          </p:cNvPr>
          <p:cNvSpPr/>
          <p:nvPr/>
        </p:nvSpPr>
        <p:spPr>
          <a:xfrm>
            <a:off x="9192127" y="4674720"/>
            <a:ext cx="2081573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 dirty="0"/>
              <a:t>Água pré-aquecida para a bomba</a:t>
            </a:r>
          </a:p>
        </p:txBody>
      </p:sp>
      <p:cxnSp>
        <p:nvCxnSpPr>
          <p:cNvPr id="100" name="Straight Arrow Connector 38">
            <a:extLst>
              <a:ext uri="{FF2B5EF4-FFF2-40B4-BE49-F238E27FC236}">
                <a16:creationId xmlns:a16="http://schemas.microsoft.com/office/drawing/2014/main" id="{BA54057D-079E-1E6F-9001-BE17C0A79A09}"/>
              </a:ext>
            </a:extLst>
          </p:cNvPr>
          <p:cNvCxnSpPr>
            <a:cxnSpLocks/>
          </p:cNvCxnSpPr>
          <p:nvPr/>
        </p:nvCxnSpPr>
        <p:spPr>
          <a:xfrm rot="10800000">
            <a:off x="9927480" y="3352165"/>
            <a:ext cx="981753" cy="489353"/>
          </a:xfrm>
          <a:prstGeom prst="bentConnector3">
            <a:avLst>
              <a:gd name="adj1" fmla="val 8486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EE05535-F47F-4E77-AA18-081E4343637F}"/>
              </a:ext>
            </a:extLst>
          </p:cNvPr>
          <p:cNvSpPr/>
          <p:nvPr/>
        </p:nvSpPr>
        <p:spPr>
          <a:xfrm>
            <a:off x="10147917" y="3445694"/>
            <a:ext cx="914460" cy="483081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rtl="0">
              <a:lnSpc>
                <a:spcPct val="120000"/>
              </a:lnSpc>
            </a:pPr>
            <a:r>
              <a:rPr lang="pt-pt" sz="1100" b="0" i="0" u="none" baseline="0" dirty="0"/>
              <a:t>Unidade do ventilador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A9A96C76-6E44-961B-EACD-590324563FAA}"/>
              </a:ext>
            </a:extLst>
          </p:cNvPr>
          <p:cNvSpPr/>
          <p:nvPr/>
        </p:nvSpPr>
        <p:spPr>
          <a:xfrm>
            <a:off x="9051093" y="2376671"/>
            <a:ext cx="1858139" cy="483081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Água pré-aquecida </a:t>
            </a:r>
          </a:p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da bomba</a:t>
            </a:r>
          </a:p>
        </p:txBody>
      </p:sp>
      <p:cxnSp>
        <p:nvCxnSpPr>
          <p:cNvPr id="113" name="Straight Arrow Connector 38">
            <a:extLst>
              <a:ext uri="{FF2B5EF4-FFF2-40B4-BE49-F238E27FC236}">
                <a16:creationId xmlns:a16="http://schemas.microsoft.com/office/drawing/2014/main" id="{E08CB6C4-8458-2EA4-D71F-8E4985250CEE}"/>
              </a:ext>
            </a:extLst>
          </p:cNvPr>
          <p:cNvCxnSpPr>
            <a:cxnSpLocks/>
          </p:cNvCxnSpPr>
          <p:nvPr/>
        </p:nvCxnSpPr>
        <p:spPr>
          <a:xfrm rot="10800000" flipV="1">
            <a:off x="8378790" y="2077303"/>
            <a:ext cx="2530442" cy="685282"/>
          </a:xfrm>
          <a:prstGeom prst="bentConnector3">
            <a:avLst>
              <a:gd name="adj1" fmla="val 100822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93D22ADA-A9F7-150A-D84F-2F43A49B89DB}"/>
              </a:ext>
            </a:extLst>
          </p:cNvPr>
          <p:cNvSpPr/>
          <p:nvPr/>
        </p:nvSpPr>
        <p:spPr>
          <a:xfrm>
            <a:off x="9051093" y="1797355"/>
            <a:ext cx="1858139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Ar de arrefecimento direto</a:t>
            </a:r>
          </a:p>
        </p:txBody>
      </p:sp>
      <p:sp>
        <p:nvSpPr>
          <p:cNvPr id="142" name="Footer Placeholder 4">
            <a:extLst>
              <a:ext uri="{FF2B5EF4-FFF2-40B4-BE49-F238E27FC236}">
                <a16:creationId xmlns:a16="http://schemas.microsoft.com/office/drawing/2014/main" id="{7604C2AF-C338-D6DD-81A9-8C7A884E91E0}"/>
              </a:ext>
            </a:extLst>
          </p:cNvPr>
          <p:cNvSpPr txBox="1">
            <a:spLocks/>
          </p:cNvSpPr>
          <p:nvPr/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pt-pt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Aft>
                <a:spcPts val="600"/>
              </a:spcAft>
            </a:pPr>
            <a:r>
              <a:rPr lang="pt-pt" sz="1000" b="0" i="0" u="none" baseline="0">
                <a:solidFill>
                  <a:schemeClr val="bg2"/>
                </a:solidFill>
              </a:rPr>
              <a:t>CONFIDENCIAL DA EMPRESA</a:t>
            </a:r>
          </a:p>
        </p:txBody>
      </p:sp>
    </p:spTree>
    <p:extLst>
      <p:ext uri="{BB962C8B-B14F-4D97-AF65-F5344CB8AC3E}">
        <p14:creationId xmlns:p14="http://schemas.microsoft.com/office/powerpoint/2010/main" val="209185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1002D1-AF7B-5549-CD00-FF0FC9392A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2DFF15-EF63-86FB-C7F6-54A99FB4C9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2DFF15-EF63-86FB-C7F6-54A99FB4C9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940FDCFA-EC4F-E969-37FA-C153436FFB4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79425" y="1762760"/>
            <a:ext cx="11290935" cy="376456"/>
          </a:xfrm>
          <a:effectLst/>
        </p:spPr>
        <p:txBody>
          <a:bodyPr lIns="0" tIns="0" rIns="0" bIns="0"/>
          <a:lstStyle/>
          <a:p>
            <a:pPr marL="0" indent="0" algn="l" rtl="0">
              <a:buNone/>
            </a:pPr>
            <a:r>
              <a:rPr lang="pt-pt" sz="1200" b="0" i="0" u="none" baseline="0"/>
              <a:t>A compatibilidade com biodiesel HPW pode ajudar os nossos clientes a atingirem as suas metas de redução de CO</a:t>
            </a:r>
            <a:r>
              <a:rPr lang="pt-pt" sz="1200" b="0" i="0" u="none" baseline="-25000"/>
              <a:t>2</a:t>
            </a:r>
            <a:r>
              <a:rPr lang="pt-pt" sz="1200" b="0" i="0" u="none" baseline="0"/>
              <a:t> e a utilização eficiente de combustível pode poupar dinheiro e apoiar o investimento.</a:t>
            </a:r>
            <a:endParaRPr lang="pt-pt" sz="1200" b="1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F5C69D-0E6B-BF61-F120-FFA78EEA53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792E24-3FC3-A8AA-DCA1-0BBFA97E53D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pt-pt" sz="1000" b="0" i="0" u="none" strike="noStrike" kern="1200" cap="none" spc="0" normalizeH="0" baseline="0" noProof="0" dirty="0">
              <a:ln>
                <a:noFill/>
              </a:ln>
              <a:solidFill>
                <a:srgbClr val="B3BBC5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8B342AE-C3BC-719D-CC90-D3CB2BCE2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10092407" cy="388013"/>
          </a:xfrm>
        </p:spPr>
        <p:txBody>
          <a:bodyPr vert="horz">
            <a:noAutofit/>
          </a:bodyPr>
          <a:lstStyle/>
          <a:p>
            <a:pPr algn="l" rtl="0"/>
            <a:r>
              <a:rPr lang="pt-pt" b="1" i="0" u="none" baseline="0"/>
              <a:t>A compatibilidade com biocombustíveis e a eficiência energética estão a poupar dinheiro aos nossos clientes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6089008-39DB-1242-8234-B66B833459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483752"/>
              </p:ext>
            </p:extLst>
          </p:nvPr>
        </p:nvGraphicFramePr>
        <p:xfrm>
          <a:off x="478449" y="2336800"/>
          <a:ext cx="5508014" cy="3400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FE2CC7BC-C7C5-951C-A200-E7A488B1A6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1797760"/>
              </p:ext>
            </p:extLst>
          </p:nvPr>
        </p:nvGraphicFramePr>
        <p:xfrm>
          <a:off x="6205539" y="2336800"/>
          <a:ext cx="5507036" cy="3400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D1B9CC-D1C7-9823-E510-BE90EDD939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449" y="1282634"/>
            <a:ext cx="11235102" cy="376456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Série MH: Poupança de combustível = Poupança de dinheiro para os nossos clientes</a:t>
            </a:r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802D7129-6813-B933-EFEF-F8C40CBFE998}"/>
              </a:ext>
            </a:extLst>
          </p:cNvPr>
          <p:cNvSpPr txBox="1">
            <a:spLocks/>
          </p:cNvSpPr>
          <p:nvPr/>
        </p:nvSpPr>
        <p:spPr>
          <a:xfrm>
            <a:off x="479424" y="6001141"/>
            <a:ext cx="11358878" cy="208481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pt-pt" sz="900" b="0" i="0" u="none" baseline="0"/>
              <a:t>Pré-requisitos: 4 horas por dia, 5 dias por semana, 45 semanas por ano -4,4% de poupança (novo vs. antigo Nilfisk) 1 litro de diesel: 1,89 EUR 1 litro de biodiesel HVO 2,05 EUR, Preço da máquina 4687</a:t>
            </a:r>
          </a:p>
          <a:p>
            <a:pPr marL="0" indent="0" algn="l" rtl="0">
              <a:buFont typeface="Arial" panose="020B0604020202020204" pitchFamily="34" charset="0"/>
              <a:buNone/>
            </a:pPr>
            <a:r>
              <a:rPr lang="pt-pt" sz="900" b="0" i="0" u="none" baseline="0"/>
              <a:t>Tabela de preços DK https://www.fuelfinder.DK/listprices.php 03/10/202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752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70D34-4E24-D134-9CA4-767388B114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D06C49-D125-91FB-C810-124BCBE6A0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Proposta de valor</a:t>
            </a:r>
          </a:p>
          <a:p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47F623-4BC1-E7F5-DBC7-453BF048C7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5DFE04-FC88-67E4-C2E5-AEA0B67EAC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2432345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5CDF5D-B6C0-A54B-E1AD-9B0CC5CAEE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CB6F819B-4F6A-3070-A6F5-0CC3AC1DB6C7}"/>
              </a:ext>
            </a:extLst>
          </p:cNvPr>
          <p:cNvSpPr txBox="1">
            <a:spLocks/>
          </p:cNvSpPr>
          <p:nvPr/>
        </p:nvSpPr>
        <p:spPr>
          <a:xfrm>
            <a:off x="8782152" y="0"/>
            <a:ext cx="3409845" cy="6283325"/>
          </a:xfrm>
          <a:prstGeom prst="rect">
            <a:avLst/>
          </a:prstGeom>
          <a:solidFill>
            <a:srgbClr val="EEEFF1"/>
          </a:solidFill>
        </p:spPr>
        <p:txBody>
          <a:bodyPr lIns="457200" tIns="2377440" rIns="457200" bIns="365760" anchor="t" anchorCtr="0"/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endParaRPr lang="pt-pt" noProof="0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54190ED-8087-42A2-4315-001BD50DCA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47" imgH="348" progId="TCLayout.ActiveDocument.1">
                  <p:embed/>
                </p:oleObj>
              </mc:Choice>
              <mc:Fallback>
                <p:oleObj name="think-cell Slide" r:id="rId34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4190ED-8087-42A2-4315-001BD50DC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6E94905-C0E7-D508-CA10-5B0735B8325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9C963A-C450-2314-09BF-A58DC73CB1B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pt-pt" sz="1000" b="0" i="0" u="none" strike="noStrike" kern="1200" cap="none" spc="0" normalizeH="0" baseline="0" noProof="0" dirty="0">
              <a:ln>
                <a:noFill/>
              </a:ln>
              <a:solidFill>
                <a:srgbClr val="B3BBC5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69F8C9-0983-533B-2BFC-BF9F34F94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7706166" cy="600236"/>
          </a:xfrm>
        </p:spPr>
        <p:txBody>
          <a:bodyPr vert="horz"/>
          <a:lstStyle/>
          <a:p>
            <a:pPr algn="l" rtl="0"/>
            <a:r>
              <a:rPr lang="pt-pt" b="1" i="0" u="none" baseline="0"/>
              <a:t>A mudança para biocombustíveis reduz a pegada de carbono da utilização de HPW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CEB3CA9-CC8A-5E3F-19CA-FBD48DA60487}"/>
              </a:ext>
            </a:extLst>
          </p:cNvPr>
          <p:cNvSpPr txBox="1"/>
          <p:nvPr/>
        </p:nvSpPr>
        <p:spPr>
          <a:xfrm>
            <a:off x="498751" y="1465026"/>
            <a:ext cx="3765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missões por produto (kg CO</a:t>
            </a:r>
            <a:r>
              <a:rPr kumimoji="0" lang="pt-pt" sz="1600" b="0" i="0" u="none" strike="noStrike" kern="1200" cap="none" spc="0" normalizeH="0" baseline="-2500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2 </a:t>
            </a:r>
            <a:r>
              <a:rPr kumimoji="0" lang="pt-pt" sz="16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/hora)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9C727DC-3534-0C46-687D-0A988F4F3FAD}"/>
              </a:ext>
            </a:extLst>
          </p:cNvPr>
          <p:cNvSpPr txBox="1"/>
          <p:nvPr/>
        </p:nvSpPr>
        <p:spPr>
          <a:xfrm>
            <a:off x="1578026" y="2353408"/>
            <a:ext cx="186372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França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318270C-B4EE-860F-1383-FEE9D9E6CF28}"/>
              </a:ext>
            </a:extLst>
          </p:cNvPr>
          <p:cNvSpPr txBox="1"/>
          <p:nvPr/>
        </p:nvSpPr>
        <p:spPr>
          <a:xfrm>
            <a:off x="5476081" y="2371030"/>
            <a:ext cx="186372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Alemanha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7397118-2E6E-6795-DC51-A617B51D0215}"/>
              </a:ext>
            </a:extLst>
          </p:cNvPr>
          <p:cNvSpPr txBox="1"/>
          <p:nvPr/>
        </p:nvSpPr>
        <p:spPr>
          <a:xfrm>
            <a:off x="3759993" y="2343083"/>
            <a:ext cx="137039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50" b="1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H55M 220/1100</a:t>
            </a: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8674C6E6-D134-A747-24D3-FF1B2E6A2FAC}"/>
              </a:ext>
            </a:extLst>
          </p:cNvPr>
          <p:cNvCxnSpPr>
            <a:cxnSpLocks/>
          </p:cNvCxnSpPr>
          <p:nvPr/>
        </p:nvCxnSpPr>
        <p:spPr>
          <a:xfrm flipH="1">
            <a:off x="4425530" y="2763785"/>
            <a:ext cx="19661" cy="258152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F1FC7644-4003-DF5D-266E-245C061B4FCE}"/>
              </a:ext>
            </a:extLst>
          </p:cNvPr>
          <p:cNvSpPr txBox="1"/>
          <p:nvPr/>
        </p:nvSpPr>
        <p:spPr>
          <a:xfrm>
            <a:off x="9072386" y="589681"/>
            <a:ext cx="2638800" cy="41934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pt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Uma máquina a funcionar a 100% com HVO pode poupar até 80% de emissões em comparação com a utilização de diesel</a:t>
            </a:r>
            <a:r>
              <a:rPr lang="pt-pt" sz="1200" b="0" i="0" u="none" baseline="0" dirty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. As poupanças dependem do país de utilização.</a:t>
            </a: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pt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Metodologia:</a:t>
            </a:r>
          </a:p>
          <a:p>
            <a:pPr marL="180000" indent="-180000" algn="l" defTabSz="914400" rtl="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kumimoji="0" lang="pt-pt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resume-se que os biocombustíveis têm emissões biogénicas líquidas zero (o CO</a:t>
            </a:r>
            <a:r>
              <a:rPr kumimoji="0" lang="pt-pt" sz="1200" b="0" i="0" u="none" strike="noStrike" kern="1200" cap="none" spc="0" normalizeH="0" baseline="-2500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2</a:t>
            </a:r>
            <a:r>
              <a:rPr kumimoji="0" lang="pt-pt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capturado durante o crescimento é libertado durante a combustão), apenas o metano (CH</a:t>
            </a:r>
            <a:r>
              <a:rPr kumimoji="0" lang="pt-pt" sz="1200" b="0" i="0" u="none" strike="noStrike" kern="1200" cap="none" spc="0" normalizeH="0" baseline="-2500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4</a:t>
            </a:r>
            <a:r>
              <a:rPr kumimoji="0" lang="pt-pt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) e o óxido nitroso (N</a:t>
            </a:r>
            <a:r>
              <a:rPr kumimoji="0" lang="pt-pt" sz="1200" b="0" i="0" u="none" strike="noStrike" kern="1200" cap="none" spc="0" normalizeH="0" baseline="-2500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2</a:t>
            </a:r>
            <a:r>
              <a:rPr kumimoji="0" lang="pt-pt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O) são contabilizados a partir da combustão. </a:t>
            </a:r>
          </a:p>
          <a:p>
            <a:pPr marL="180000" indent="-180000" algn="l" defTabSz="914400" rtl="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pt-pt" sz="1200" b="0" i="0" u="none" baseline="0" dirty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Os fatores de emissão para a eletricidade são da AIE (2024) </a:t>
            </a:r>
          </a:p>
          <a:p>
            <a:pPr marL="180000" indent="-180000" algn="l" defTabSz="914400" rtl="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kumimoji="0" lang="pt-pt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Fatores de emissão para combustíveis da Defra (2024)</a:t>
            </a:r>
          </a:p>
          <a:p>
            <a:pPr marL="180000" indent="-180000" algn="l" defTabSz="914400" rtl="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pt-pt" sz="1200" b="0" i="0" u="none" baseline="0" dirty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Estamos a utilizar fatores de emissões do ciclo de vida, tendo em conta todas as emissões da cadeia de fornecimento de biocombustíveis</a:t>
            </a:r>
          </a:p>
        </p:txBody>
      </p:sp>
      <p:graphicFrame>
        <p:nvGraphicFramePr>
          <p:cNvPr id="1030" name="Chart 1029">
            <a:extLst>
              <a:ext uri="{FF2B5EF4-FFF2-40B4-BE49-F238E27FC236}">
                <a16:creationId xmlns:a16="http://schemas.microsoft.com/office/drawing/2014/main" id="{489B141B-C40C-B3A2-3BF1-2B177EC9BB3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210300"/>
              </p:ext>
            </p:extLst>
          </p:nvPr>
        </p:nvGraphicFramePr>
        <p:xfrm>
          <a:off x="18200" y="2873375"/>
          <a:ext cx="8093442" cy="2779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50FD5368-5594-2C22-4C98-856228E4874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5047083" y="2817812"/>
            <a:ext cx="0" cy="85725"/>
          </a:xfrm>
          <a:prstGeom prst="line">
            <a:avLst/>
          </a:prstGeom>
          <a:ln w="635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A0E5C79-559C-BA38-CB43-D9502B2F683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253980" y="5205412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fld id="{B5EE52BC-F823-40E8-93DB-CADB7056F059}" type="datetime'1'">
              <a:rPr sz="1000">
                <a:solidFill>
                  <a:schemeClr val="bg1"/>
                </a:solidFill>
                <a:effectLst/>
                <a:latin typeface="+mj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pt-pt" sz="1000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32A94A80-8850-0080-C118-BF6529D3191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23509" y="322262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fld id="{D5A9EC68-0458-4701-9D00-3587D86F96D4}" type="datetime'19'">
              <a:rPr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pt-pt" noProof="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7CBF2DB-7192-F56D-E94B-12D0E9330A4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57919" y="3227117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fld id="{F995D11A-4323-43AD-B503-7E92F357606A}" type="datetime'19'">
              <a:rPr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pt-pt" noProof="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FF4ADD20-D912-4EF7-1E3A-C9E144AF0DE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764341" y="4676775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fld id="{1142F3F6-2712-4DA8-BBD4-F494AB7FFFDA}" type="datetime'4'">
              <a:rPr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pt-pt" noProof="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944E857-39C0-DDA6-D814-AEE208887BA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18868" y="2941637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fld id="{B83F281B-3547-4173-B3D2-4F3687B2409B}" type="datetime'22'">
              <a:rPr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pt-pt" noProof="0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C867AEB4-229D-0E81-6D1C-9845E664F53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154505" y="3008312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fld id="{554EEEB2-F52C-48E0-9110-7CC76E80EF82}" type="datetime'22'">
              <a:rPr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pt-pt" noProof="0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3F143A60-3159-0FF2-A788-B4A403B5366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404894" y="4441825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fld id="{EAD7E8B8-9A81-4D1D-8517-9BF707B279D8}" type="datetime'7'">
              <a:rPr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pt-pt" noProof="0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30E77D25-9025-3C39-D3DB-E649F80BE14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182142" y="6187192"/>
            <a:ext cx="72000" cy="72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 noProof="0" dirty="0">
              <a:solidFill>
                <a:schemeClr val="bg2"/>
              </a:solidFill>
              <a:highlight>
                <a:srgbClr val="8997A4"/>
              </a:highlight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E52CDDF-2A6F-D0DD-EA0C-02E5AEA7EE70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052274" y="6185412"/>
            <a:ext cx="72000" cy="72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 noProof="0" dirty="0">
              <a:solidFill>
                <a:schemeClr val="tx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B9A0738-8220-7A14-8450-EEFB3117A87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214655" y="6185412"/>
            <a:ext cx="72000" cy="72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 noProof="0" dirty="0">
              <a:solidFill>
                <a:schemeClr val="tx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813C061-D0C9-4E73-79B2-B3A40B51AAC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290093" y="6115050"/>
            <a:ext cx="469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l" rtl="0">
              <a:spcBef>
                <a:spcPct val="0"/>
              </a:spcBef>
              <a:spcAft>
                <a:spcPct val="0"/>
              </a:spcAft>
              <a:buNone/>
            </a:pPr>
            <a:fld id="{011E8745-EFBB-4FCE-ABB3-EB1F4667F530}" type="datetime'Gasóleo'">
              <a:rPr sz="100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Gasóleo</a:t>
            </a:fld>
            <a:endParaRPr lang="pt-pt" sz="1000" noProof="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C2E76FC-4AB2-DED8-AB3C-2E94ED8B611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163218" y="6115050"/>
            <a:ext cx="755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l" rtl="0">
              <a:spcBef>
                <a:spcPct val="0"/>
              </a:spcBef>
              <a:spcAft>
                <a:spcPct val="0"/>
              </a:spcAft>
              <a:buNone/>
            </a:pPr>
            <a:fld id="{A0CB3CF1-DD3C-4DF2-81C9-051069A30BBE}" type="datetime'Eletricidade'">
              <a:rPr sz="100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letricidade</a:t>
            </a:fld>
            <a:endParaRPr lang="pt-pt" sz="1000" noProof="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29A3D77-02D3-E300-53BA-8AD7C41FD35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322093" y="6115050"/>
            <a:ext cx="355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l" rtl="0">
              <a:spcBef>
                <a:spcPct val="0"/>
              </a:spcBef>
              <a:spcAft>
                <a:spcPct val="0"/>
              </a:spcAft>
              <a:buNone/>
            </a:pPr>
            <a:fld id="{E77B9A14-8E72-41C6-99F3-F12B4E3187BD}" type="datetime'HVO'">
              <a:rPr sz="100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HVO</a:t>
            </a:fld>
            <a:endParaRPr lang="pt-pt" sz="1000" noProof="0" dirty="0"/>
          </a:p>
        </p:txBody>
      </p:sp>
      <p:cxnSp>
        <p:nvCxnSpPr>
          <p:cNvPr id="8" name="Straight Arrow Connector 38">
            <a:extLst>
              <a:ext uri="{FF2B5EF4-FFF2-40B4-BE49-F238E27FC236}">
                <a16:creationId xmlns:a16="http://schemas.microsoft.com/office/drawing/2014/main" id="{0DA58848-08DD-4166-3B47-22CC196FE97F}"/>
              </a:ext>
            </a:extLst>
          </p:cNvPr>
          <p:cNvCxnSpPr>
            <a:cxnSpLocks/>
          </p:cNvCxnSpPr>
          <p:nvPr/>
        </p:nvCxnSpPr>
        <p:spPr>
          <a:xfrm>
            <a:off x="5042693" y="2817812"/>
            <a:ext cx="2436813" cy="1563429"/>
          </a:xfrm>
          <a:prstGeom prst="bentConnector3">
            <a:avLst>
              <a:gd name="adj1" fmla="val 10073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38">
            <a:extLst>
              <a:ext uri="{FF2B5EF4-FFF2-40B4-BE49-F238E27FC236}">
                <a16:creationId xmlns:a16="http://schemas.microsoft.com/office/drawing/2014/main" id="{E769B367-716A-669C-7566-48E6D4D29AC7}"/>
              </a:ext>
            </a:extLst>
          </p:cNvPr>
          <p:cNvCxnSpPr>
            <a:cxnSpLocks/>
          </p:cNvCxnSpPr>
          <p:nvPr/>
        </p:nvCxnSpPr>
        <p:spPr>
          <a:xfrm>
            <a:off x="6278330" y="2820987"/>
            <a:ext cx="0" cy="130175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5" name="Text Placeholder 2">
            <a:extLst>
              <a:ext uri="{FF2B5EF4-FFF2-40B4-BE49-F238E27FC236}">
                <a16:creationId xmlns:a16="http://schemas.microsoft.com/office/drawing/2014/main" id="{D1DCA685-14AE-5493-2C77-8600EBCE13C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52372" y="2616143"/>
            <a:ext cx="392113" cy="39240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fld id="{2BA56006-7AB3-443B-B555-8CAE203E7107}" type="datetime'-3%'">
              <a:rPr sz="120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%</a:t>
            </a:fld>
            <a:endParaRPr lang="pt-pt" sz="1200" noProof="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57C89A0-C7C4-169F-C2BD-19BE66C8FEA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473889" y="5205412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fld id="{B5EE52BC-F823-40E8-93DB-CADB7056F059}" type="datetime'1'">
              <a:rPr sz="1000">
                <a:solidFill>
                  <a:schemeClr val="bg1"/>
                </a:solidFill>
                <a:effectLst/>
                <a:latin typeface="+mj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pt-pt" sz="1000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1E6A984D-FE9D-51E3-02B4-2C99BE8D8A8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725540" y="4879390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fld id="{B5EE52BC-F823-40E8-93DB-CADB7056F059}" type="datetime'1'">
              <a:rPr sz="1000">
                <a:solidFill>
                  <a:schemeClr val="bg1"/>
                </a:solidFill>
                <a:effectLst/>
                <a:latin typeface="+mj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pt-pt" sz="1000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3CF88EE-EDE1-7644-DEBC-CD9D28A8B9A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780549" y="2616143"/>
            <a:ext cx="392113" cy="39240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pt" sz="1200" b="0" i="0" u="none" baseline="0">
                <a:effectLst/>
              </a:rPr>
              <a:t>-69%</a:t>
            </a:r>
            <a:endParaRPr lang="pt-pt" sz="1200" noProof="0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B79945D3-F90D-21E9-BF9A-99467D46309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953715" y="4217781"/>
            <a:ext cx="216000" cy="216000"/>
          </a:xfrm>
          <a:prstGeom prst="ellipse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fld id="{B5EE52BC-F823-40E8-93DB-CADB7056F059}" type="datetime'1'">
              <a:rPr sz="1000">
                <a:solidFill>
                  <a:schemeClr val="bg1"/>
                </a:solidFill>
                <a:effectLst/>
                <a:latin typeface="+mj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r>
              <a:rPr lang="pt-pt" sz="1000" b="0" i="0" u="none" baseline="0">
                <a:solidFill>
                  <a:schemeClr val="bg1"/>
                </a:solidFill>
                <a:effectLst/>
                <a:latin typeface="+mj-lt"/>
                <a:ea typeface="+mj-lt"/>
                <a:cs typeface="+mj-lt"/>
              </a:rPr>
              <a:t>9</a:t>
            </a:r>
            <a:endParaRPr lang="pt-pt" sz="1000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A1CDC49-3191-3788-CF75-35CE4D437B5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53715" y="5082945"/>
            <a:ext cx="216000" cy="216000"/>
          </a:xfrm>
          <a:prstGeom prst="ellipse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pt" sz="1000" b="0" i="0" u="none" baseline="0">
                <a:solidFill>
                  <a:schemeClr val="bg1"/>
                </a:solidFill>
                <a:effectLst/>
                <a:latin typeface="+mj-lt"/>
                <a:ea typeface="+mj-lt"/>
                <a:cs typeface="+mj-lt"/>
              </a:rPr>
              <a:t>4</a:t>
            </a:r>
            <a:endParaRPr lang="pt-pt" sz="1000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46269636-AD16-4C81-7C25-B3010CE30C5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170330" y="4217781"/>
            <a:ext cx="216000" cy="216000"/>
          </a:xfrm>
          <a:prstGeom prst="ellipse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pt" sz="1000" b="0" i="0" u="none" baseline="0">
                <a:solidFill>
                  <a:schemeClr val="bg1"/>
                </a:solidFill>
                <a:effectLst/>
                <a:latin typeface="+mj-lt"/>
                <a:ea typeface="+mj-lt"/>
                <a:cs typeface="+mj-lt"/>
              </a:rPr>
              <a:t>18</a:t>
            </a:r>
            <a:endParaRPr lang="pt-pt" sz="1000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B80FC37-F17F-D1A9-FC42-5B5F936841F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170330" y="5082945"/>
            <a:ext cx="216000" cy="216000"/>
          </a:xfrm>
          <a:prstGeom prst="ellipse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pt" sz="1000" b="0" i="0" u="none" baseline="0">
                <a:solidFill>
                  <a:schemeClr val="bg1"/>
                </a:solidFill>
                <a:effectLst/>
                <a:latin typeface="+mj-lt"/>
                <a:ea typeface="+mj-lt"/>
                <a:cs typeface="+mj-lt"/>
              </a:rPr>
              <a:t>4</a:t>
            </a:r>
            <a:endParaRPr lang="pt-pt" sz="1000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A636D5F-3C3B-C04A-1DB1-CE2877A8DFF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388013" y="5082945"/>
            <a:ext cx="216000" cy="216000"/>
          </a:xfrm>
          <a:prstGeom prst="ellipse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pt" sz="1000" b="0" i="0" u="none" baseline="0">
                <a:solidFill>
                  <a:schemeClr val="bg1"/>
                </a:solidFill>
                <a:effectLst/>
                <a:latin typeface="+mj-lt"/>
                <a:ea typeface="+mj-lt"/>
                <a:cs typeface="+mj-lt"/>
              </a:rPr>
              <a:t>3</a:t>
            </a:r>
            <a:endParaRPr lang="pt-pt" sz="1000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E949B65B-B0DF-8D59-5840-DA67A987797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388013" y="4771390"/>
            <a:ext cx="216000" cy="216000"/>
          </a:xfrm>
          <a:prstGeom prst="ellipse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pt" sz="1000" b="0" i="0" u="none" baseline="0">
                <a:solidFill>
                  <a:schemeClr val="bg1"/>
                </a:solidFill>
                <a:effectLst/>
                <a:latin typeface="+mj-lt"/>
                <a:ea typeface="+mj-lt"/>
                <a:cs typeface="+mj-lt"/>
              </a:rPr>
              <a:t>4</a:t>
            </a:r>
            <a:endParaRPr lang="pt-pt" sz="1000" noProof="0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25A64C9-8EAE-1F40-E150-DB1E08ECB59F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1375327" y="3069390"/>
            <a:ext cx="0" cy="85725"/>
          </a:xfrm>
          <a:prstGeom prst="line">
            <a:avLst/>
          </a:prstGeom>
          <a:ln w="635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38">
            <a:extLst>
              <a:ext uri="{FF2B5EF4-FFF2-40B4-BE49-F238E27FC236}">
                <a16:creationId xmlns:a16="http://schemas.microsoft.com/office/drawing/2014/main" id="{5FF57316-4670-C9F5-DF19-526F862ED913}"/>
              </a:ext>
            </a:extLst>
          </p:cNvPr>
          <p:cNvCxnSpPr>
            <a:cxnSpLocks/>
          </p:cNvCxnSpPr>
          <p:nvPr/>
        </p:nvCxnSpPr>
        <p:spPr>
          <a:xfrm>
            <a:off x="1370937" y="3069390"/>
            <a:ext cx="2436813" cy="1563429"/>
          </a:xfrm>
          <a:prstGeom prst="bentConnector3">
            <a:avLst>
              <a:gd name="adj1" fmla="val 10073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38">
            <a:extLst>
              <a:ext uri="{FF2B5EF4-FFF2-40B4-BE49-F238E27FC236}">
                <a16:creationId xmlns:a16="http://schemas.microsoft.com/office/drawing/2014/main" id="{837D9076-4189-C4FD-85B1-132B0CCECFE5}"/>
              </a:ext>
            </a:extLst>
          </p:cNvPr>
          <p:cNvCxnSpPr>
            <a:cxnSpLocks/>
          </p:cNvCxnSpPr>
          <p:nvPr/>
        </p:nvCxnSpPr>
        <p:spPr>
          <a:xfrm>
            <a:off x="2606574" y="3072565"/>
            <a:ext cx="0" cy="130175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4DEA53FD-F288-1AFA-D356-B58C395827C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775831" y="2867586"/>
            <a:ext cx="392113" cy="39240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pt" sz="1200" b="0" i="0" u="none" baseline="0">
                <a:effectLst/>
              </a:rPr>
              <a:t>-4%</a:t>
            </a:r>
            <a:endParaRPr lang="pt-pt" sz="1200" noProof="0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4EE8A8C1-8597-4876-E09C-D3857007EDEC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004008" y="2867586"/>
            <a:ext cx="392113" cy="39240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pt" sz="1200" b="0" i="0" u="none" baseline="0">
                <a:effectLst/>
              </a:rPr>
              <a:t>-80%</a:t>
            </a:r>
            <a:endParaRPr lang="pt-pt" sz="1200" noProof="0" dirty="0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C5291F00-E24B-B139-6024-C0D5B097E97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717029" y="5082945"/>
            <a:ext cx="216000" cy="216000"/>
          </a:xfrm>
          <a:prstGeom prst="ellipse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pt" sz="1000" b="0" i="0" u="none" baseline="0">
                <a:solidFill>
                  <a:schemeClr val="bg1"/>
                </a:solidFill>
                <a:effectLst/>
                <a:latin typeface="+mj-lt"/>
                <a:ea typeface="+mj-lt"/>
                <a:cs typeface="+mj-lt"/>
              </a:rPr>
              <a:t>3</a:t>
            </a:r>
            <a:endParaRPr lang="pt-pt" sz="1000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BC445731-C780-0BEF-FA30-18CB8C6DD64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257274" y="4316310"/>
            <a:ext cx="216000" cy="216000"/>
          </a:xfrm>
          <a:prstGeom prst="ellipse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fld id="{B5EE52BC-F823-40E8-93DB-CADB7056F059}" type="datetime'1'">
              <a:rPr sz="1000">
                <a:solidFill>
                  <a:schemeClr val="bg1"/>
                </a:solidFill>
                <a:effectLst/>
                <a:latin typeface="+mj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r>
              <a:rPr lang="pt-pt" sz="1000" b="0" i="0" u="none" baseline="0">
                <a:solidFill>
                  <a:schemeClr val="bg1"/>
                </a:solidFill>
                <a:effectLst/>
                <a:latin typeface="+mj-lt"/>
                <a:ea typeface="+mj-lt"/>
                <a:cs typeface="+mj-lt"/>
              </a:rPr>
              <a:t>9</a:t>
            </a:r>
            <a:endParaRPr lang="pt-pt" sz="1000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A55EDF81-329C-C056-052F-EA7F81BB936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473889" y="4316310"/>
            <a:ext cx="216000" cy="216000"/>
          </a:xfrm>
          <a:prstGeom prst="ellipse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pt-pt" sz="1000" b="0" i="0" u="none" baseline="0">
                <a:solidFill>
                  <a:schemeClr val="bg1"/>
                </a:solidFill>
                <a:effectLst/>
                <a:latin typeface="+mj-lt"/>
                <a:ea typeface="+mj-lt"/>
                <a:cs typeface="+mj-lt"/>
              </a:rPr>
              <a:t>18</a:t>
            </a:r>
            <a:endParaRPr lang="pt-pt" sz="1000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EEF0CE7-B606-3AB6-AD92-2133E8838977}"/>
              </a:ext>
            </a:extLst>
          </p:cNvPr>
          <p:cNvSpPr txBox="1"/>
          <p:nvPr/>
        </p:nvSpPr>
        <p:spPr>
          <a:xfrm>
            <a:off x="941522" y="5521592"/>
            <a:ext cx="85883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 defTabSz="914400" rtl="0">
              <a:defRPr/>
            </a:pPr>
            <a:r>
              <a:rPr lang="pt-pt" sz="1000" b="0" i="0" u="none" baseline="0"/>
              <a:t>Antiga - a funcionar a diesel</a:t>
            </a:r>
            <a:endParaRPr kumimoji="0" lang="pt-pt" sz="100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F8A1DC9-3F2E-9380-CBEB-54C73F7D2362}"/>
              </a:ext>
            </a:extLst>
          </p:cNvPr>
          <p:cNvSpPr txBox="1"/>
          <p:nvPr/>
        </p:nvSpPr>
        <p:spPr>
          <a:xfrm>
            <a:off x="2164460" y="5521592"/>
            <a:ext cx="85883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 defTabSz="914400" rtl="0">
              <a:defRPr/>
            </a:pPr>
            <a:r>
              <a:rPr lang="pt-pt" sz="1000" b="0" i="0" u="none" baseline="0"/>
              <a:t>Nova - a funcionar a diesel</a:t>
            </a:r>
            <a:endParaRPr kumimoji="0" lang="pt-pt" sz="100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2AC4E2F-DECB-8370-A27B-A9810E228DD8}"/>
              </a:ext>
            </a:extLst>
          </p:cNvPr>
          <p:cNvSpPr txBox="1"/>
          <p:nvPr/>
        </p:nvSpPr>
        <p:spPr>
          <a:xfrm>
            <a:off x="3396121" y="5521592"/>
            <a:ext cx="85883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 defTabSz="914400" rtl="0">
              <a:defRPr/>
            </a:pPr>
            <a:r>
              <a:rPr lang="pt-pt" sz="1000" b="0" i="0" u="none" baseline="0"/>
              <a:t>Nova - a funcionar com HVO</a:t>
            </a:r>
            <a:endParaRPr kumimoji="0" lang="pt-pt" sz="100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1F7D425-9867-1D3A-CAB5-6E70CDE62423}"/>
              </a:ext>
            </a:extLst>
          </p:cNvPr>
          <p:cNvSpPr txBox="1"/>
          <p:nvPr/>
        </p:nvSpPr>
        <p:spPr>
          <a:xfrm>
            <a:off x="4613278" y="5521592"/>
            <a:ext cx="85883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 defTabSz="914400" rtl="0">
              <a:defRPr/>
            </a:pPr>
            <a:r>
              <a:rPr lang="pt-pt" sz="1000" b="0" i="0" u="none" baseline="0"/>
              <a:t>Antiga - a funcionar a diesel</a:t>
            </a:r>
            <a:endParaRPr kumimoji="0" lang="pt-pt" sz="100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780F62A-1197-9527-63BC-DDA248A96C7D}"/>
              </a:ext>
            </a:extLst>
          </p:cNvPr>
          <p:cNvSpPr txBox="1"/>
          <p:nvPr/>
        </p:nvSpPr>
        <p:spPr>
          <a:xfrm>
            <a:off x="5836216" y="5521592"/>
            <a:ext cx="85883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 defTabSz="914400" rtl="0">
              <a:defRPr/>
            </a:pPr>
            <a:r>
              <a:rPr lang="pt-pt" sz="1000" b="0" i="0" u="none" baseline="0"/>
              <a:t>Nova - a funcionar a diesel</a:t>
            </a:r>
            <a:endParaRPr kumimoji="0" lang="pt-pt" sz="100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C909CD1-3B18-15EE-4572-79DC319A5355}"/>
              </a:ext>
            </a:extLst>
          </p:cNvPr>
          <p:cNvSpPr txBox="1"/>
          <p:nvPr/>
        </p:nvSpPr>
        <p:spPr>
          <a:xfrm>
            <a:off x="7067877" y="5521592"/>
            <a:ext cx="85883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 defTabSz="914400" rtl="0">
              <a:defRPr/>
            </a:pPr>
            <a:r>
              <a:rPr lang="pt-pt" sz="1000" b="0" i="0" u="none" baseline="0"/>
              <a:t>Nova - a funcionar com HVO</a:t>
            </a:r>
            <a:endParaRPr kumimoji="0" lang="pt-pt" sz="100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9" name="Picture 8" descr="A machine with wheels on it&#10;&#10;AI-generated content may be incorrect.">
            <a:extLst>
              <a:ext uri="{FF2B5EF4-FFF2-40B4-BE49-F238E27FC236}">
                <a16:creationId xmlns:a16="http://schemas.microsoft.com/office/drawing/2014/main" id="{647B6E5D-C83B-771E-2B0B-66F9F53EECC2}"/>
              </a:ext>
            </a:extLst>
          </p:cNvPr>
          <p:cNvPicPr>
            <a:picLocks noChangeAspect="1"/>
          </p:cNvPicPr>
          <p:nvPr/>
        </p:nvPicPr>
        <p:blipFill>
          <a:blip r:embed="rId3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2568" y="1639846"/>
            <a:ext cx="710457" cy="739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780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EF3D6031-C32E-B3EF-00C8-FC8AF7903153}"/>
              </a:ext>
            </a:extLst>
          </p:cNvPr>
          <p:cNvSpPr txBox="1">
            <a:spLocks/>
          </p:cNvSpPr>
          <p:nvPr/>
        </p:nvSpPr>
        <p:spPr>
          <a:xfrm>
            <a:off x="7880350" y="0"/>
            <a:ext cx="4311647" cy="6283325"/>
          </a:xfrm>
          <a:prstGeom prst="rect">
            <a:avLst/>
          </a:prstGeom>
          <a:solidFill>
            <a:srgbClr val="EEEFF1"/>
          </a:solidFill>
        </p:spPr>
        <p:txBody>
          <a:bodyPr lIns="457200" tIns="2377440" rIns="457200" bIns="365760" anchor="t" anchorCtr="0"/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endParaRPr lang="pt-pt" noProof="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7E9692-92A1-BA35-EADC-EB29BC96A73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238A0D-0B72-8C06-2384-D456FB88F9F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1</a:t>
            </a:fld>
            <a:endParaRPr lang="pt-pt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66C407-6B3B-2EFF-20D6-4C8587E797C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5521" y="1860332"/>
            <a:ext cx="6685463" cy="3323077"/>
          </a:xfrm>
          <a:noFill/>
          <a:effectLst/>
        </p:spPr>
        <p:txBody>
          <a:bodyPr lIns="0" tIns="0" rIns="0" bIns="0"/>
          <a:lstStyle/>
          <a:p>
            <a:pPr marL="0" indent="0" algn="l" rtl="0">
              <a:lnSpc>
                <a:spcPct val="120000"/>
              </a:lnSpc>
              <a:buNone/>
            </a:pPr>
            <a:r>
              <a:rPr lang="pt-pt" sz="1200" b="0" i="0" u="none" baseline="0" dirty="0"/>
              <a:t>As caldeiras da Nilfisk são testadas de acordo com os requisitos da EUnited.</a:t>
            </a:r>
          </a:p>
          <a:p>
            <a:pPr marL="0" indent="0" algn="l" rtl="0">
              <a:lnSpc>
                <a:spcPct val="120000"/>
              </a:lnSpc>
              <a:buNone/>
            </a:pPr>
            <a:r>
              <a:rPr lang="pt-pt" sz="1200" b="0" i="0" u="none" baseline="0" dirty="0"/>
              <a:t>As classificações de eficiência são: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 dirty="0"/>
              <a:t>Caldeira energeticamente eficiente ~ 96% de eficiência (MH35-85)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 dirty="0"/>
              <a:t>Caldeira EcoPower ~ 92% de eficiência (MH20-70)</a:t>
            </a:r>
          </a:p>
          <a:p>
            <a:pPr algn="l" rtl="0">
              <a:lnSpc>
                <a:spcPct val="120000"/>
              </a:lnSpc>
              <a:buFontTx/>
              <a:buChar char="-"/>
            </a:pPr>
            <a:endParaRPr lang="pt-pt" sz="1200" noProof="0" dirty="0"/>
          </a:p>
          <a:p>
            <a:pPr marL="0" indent="0" algn="l" rtl="0">
              <a:lnSpc>
                <a:spcPct val="120000"/>
              </a:lnSpc>
              <a:buNone/>
            </a:pPr>
            <a:r>
              <a:rPr lang="pt-pt" sz="1200" b="0" i="0" u="none" baseline="0" dirty="0"/>
              <a:t>Maior eficiência = menor consumo de combustível = poupança de custos</a:t>
            </a:r>
          </a:p>
          <a:p>
            <a:pPr marL="0" indent="0" algn="l" rtl="0">
              <a:lnSpc>
                <a:spcPct val="120000"/>
              </a:lnSpc>
              <a:buNone/>
            </a:pPr>
            <a:r>
              <a:rPr lang="pt-pt" sz="1200" b="0" i="0" u="none" baseline="0" dirty="0"/>
              <a:t>Maior eficiência = temperatura mais consistente = limpeza mais rápida/poupança de dinheiro/energia</a:t>
            </a:r>
          </a:p>
          <a:p>
            <a:pPr marL="0" indent="0" algn="l" rtl="0">
              <a:lnSpc>
                <a:spcPct val="120000"/>
              </a:lnSpc>
              <a:buNone/>
            </a:pPr>
            <a:endParaRPr lang="pt-pt" sz="1200" noProof="0" dirty="0"/>
          </a:p>
          <a:p>
            <a:pPr marL="0" indent="0" algn="l" rtl="0">
              <a:lnSpc>
                <a:spcPct val="120000"/>
              </a:lnSpc>
              <a:buNone/>
            </a:pPr>
            <a:r>
              <a:rPr lang="pt-pt" sz="1200" b="0" i="0" u="none" baseline="0" dirty="0"/>
              <a:t>Além disso, a elevada eficiência significa uma combustão mais limpa com redução de fuligem e poluição. Não só é bom para o ambiente, como também reduz as necessidades de manutenção da bobina, reduzindo os custos de assistência.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F959C39D-0813-83EB-DB71-FD355411AD6E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/>
          <a:stretch>
            <a:fillRect/>
          </a:stretch>
        </p:blipFill>
        <p:spPr>
          <a:xfrm>
            <a:off x="8210550" y="309202"/>
            <a:ext cx="2280469" cy="2243084"/>
          </a:xfrm>
          <a:prstGeom prst="rect">
            <a:avLst/>
          </a:prstGeom>
          <a:effectLst/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582446-6BFB-B63B-5143-EBC668B3FD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6685463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As caldeiras da Nilfisk são testadas de acordo com os requisitos da EUnited 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286B85F-C7C8-8630-78B0-19BD256D7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Caldeira de alta eficiência aprovada 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D3379C8-B2F4-9DC0-CE18-07A8E45D9919}"/>
              </a:ext>
            </a:extLst>
          </p:cNvPr>
          <p:cNvSpPr txBox="1">
            <a:spLocks/>
          </p:cNvSpPr>
          <p:nvPr/>
        </p:nvSpPr>
        <p:spPr>
          <a:xfrm>
            <a:off x="8210550" y="2794109"/>
            <a:ext cx="3500071" cy="2913171"/>
          </a:xfrm>
          <a:prstGeom prst="rect">
            <a:avLst/>
          </a:prstGeom>
          <a:noFill/>
          <a:effectLst/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pt-pt" sz="1200" b="1" i="0" u="none" baseline="0" dirty="0">
                <a:latin typeface="+mj-lt"/>
                <a:ea typeface="+mj-lt"/>
                <a:cs typeface="+mj-lt"/>
              </a:rPr>
              <a:t>Etiqueta de limpeza EUnited:</a:t>
            </a:r>
          </a:p>
          <a:p>
            <a:pPr marL="0" indent="0" algn="l" rtl="0">
              <a:lnSpc>
                <a:spcPct val="120000"/>
              </a:lnSpc>
              <a:buFont typeface="Arial" panose="020B0604020202020204" pitchFamily="34" charset="0"/>
              <a:buNone/>
            </a:pPr>
            <a:endParaRPr lang="pt-pt" sz="1200" b="1" noProof="0" dirty="0">
              <a:latin typeface="+mj-lt"/>
            </a:endParaRPr>
          </a:p>
          <a:p>
            <a:pPr marL="0" indent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pt-pt" sz="1200" b="0" i="0" u="none" baseline="0" dirty="0"/>
              <a:t>"A etiqueta da máquina de limpeza de alta pressão da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United Cleaning é um selo de aprovação de que o queimador altamente eficiente da máquina de limpeza de alta pressão estacionária ou quase estacionária testada aquecida a</a:t>
            </a:r>
            <a:r>
              <a:rPr lang="pt-pt" sz="1200" b="0" i="0" u="none" baseline="0" dirty="0"/>
              <a:t> </a:t>
            </a:r>
            <a:br>
              <a:rPr lang="pt-pt" sz="1200" dirty="0"/>
            </a:br>
            <a:r>
              <a:rPr lang="pt-pt" sz="1200" b="0" i="0" u="none" baseline="0" dirty="0"/>
              <a:t>óleo cumpre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quisitos de segurança extremamente elevados em termos de perda térmica de gases de escape qA, emissões de CO</a:t>
            </a:r>
            <a:r>
              <a:rPr lang="pt-pt" sz="1200" b="1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</a:t>
            </a:r>
            <a:r>
              <a:rPr lang="pt-pt" sz="1200" b="0" i="0" u="none" baseline="0" dirty="0"/>
              <a:t>e emissões de pó. Estes parâmetros têm de ser monitorizados para proteger o operador de qualquer perigo emitido pelo escape do queimador incorporado na máquina de limpeza de alta pressão" </a:t>
            </a:r>
            <a:r>
              <a:rPr lang="pt-pt" sz="1200" b="0" i="0" u="none" baseline="0" dirty="0">
                <a:hlinkClick r:id="rId3"/>
              </a:rPr>
              <a:t>EUnited</a:t>
            </a:r>
            <a:endParaRPr lang="pt-pt" sz="1200" noProof="0" dirty="0"/>
          </a:p>
        </p:txBody>
      </p:sp>
    </p:spTree>
    <p:extLst>
      <p:ext uri="{BB962C8B-B14F-4D97-AF65-F5344CB8AC3E}">
        <p14:creationId xmlns:p14="http://schemas.microsoft.com/office/powerpoint/2010/main" val="2887337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0F0854-8200-5D3F-C97E-31FD1C480B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dirty="0"/>
              <a:t>6</a:t>
            </a:r>
            <a:endParaRPr lang="pt-pt" b="1" i="0" u="none" baseline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B2FD78-BC3E-F2AD-5F46-1BE94F7F85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ssistênci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AAF5FA-0373-B035-0F6A-069BB1A5D3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8CF1E1-D0CA-B658-7C7C-02D9119E53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2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391212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DBA524D-3634-3C51-AE9A-21B459231208}"/>
              </a:ext>
            </a:extLst>
          </p:cNvPr>
          <p:cNvSpPr txBox="1">
            <a:spLocks/>
          </p:cNvSpPr>
          <p:nvPr/>
        </p:nvSpPr>
        <p:spPr>
          <a:xfrm>
            <a:off x="6200774" y="1"/>
            <a:ext cx="5991225" cy="6273800"/>
          </a:xfrm>
          <a:prstGeom prst="rect">
            <a:avLst/>
          </a:prstGeom>
          <a:solidFill>
            <a:srgbClr val="EEEFF1"/>
          </a:solidFill>
        </p:spPr>
        <p:txBody>
          <a:bodyPr lIns="457200" tIns="2377440" rIns="457200" bIns="365760" anchor="t" anchorCtr="0"/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22EA60-7B42-0FAB-94D4-B62A1217CDC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087655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1EBA80-D223-A042-02BE-F690F15CE54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479426" y="6529068"/>
            <a:ext cx="270170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fld id="{6C385236-B7BA-4938-9EA6-6DEC8CA653D7}" type="slidenum">
              <a:rPr/>
              <a:pPr algn="l" rtl="0">
                <a:spcAft>
                  <a:spcPts val="600"/>
                </a:spcAft>
              </a:pPr>
              <a:t>33</a:t>
            </a:fld>
            <a:endParaRPr lang="pt-pt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00106A-89B5-6B14-1B8D-203FD22E43A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52729" y="1412876"/>
            <a:ext cx="2363652" cy="3765176"/>
          </a:xfrm>
          <a:noFill/>
          <a:effectLst/>
        </p:spPr>
        <p:txBody>
          <a:bodyPr lIns="0" tIns="0" rIns="0" bIns="0">
            <a:normAutofit fontScale="92500" lnSpcReduction="10000"/>
          </a:bodyPr>
          <a:lstStyle/>
          <a:p>
            <a:pPr marL="0" indent="0" algn="l" rtl="0">
              <a:lnSpc>
                <a:spcPct val="120000"/>
              </a:lnSpc>
              <a:buNone/>
            </a:pPr>
            <a:r>
              <a:rPr lang="pt-pt" sz="1200" b="1" i="0" u="none" baseline="0" dirty="0">
                <a:latin typeface="+mj-lt"/>
                <a:ea typeface="+mj-lt"/>
                <a:cs typeface="+mj-lt"/>
              </a:rPr>
              <a:t>Funcionalidades principais: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 dirty="0"/>
              <a:t>Registo do utilizador/início de sessão e acesso baseado em permissões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 dirty="0"/>
              <a:t>Descoberta de dispositivos e conectividade Bluetooth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 dirty="0"/>
              <a:t>Troca de parâmetros e falhas entre dispositivos móveis e máquinas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 dirty="0"/>
              <a:t>Transferência de software, ferramentas de depuração e suporte offline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 dirty="0"/>
              <a:t>Designs de ecrã abrangentes:</a:t>
            </a:r>
          </a:p>
          <a:p>
            <a:pPr marL="199104" lvl="1" indent="0" algn="l" rtl="0">
              <a:lnSpc>
                <a:spcPct val="120000"/>
              </a:lnSpc>
              <a:buNone/>
            </a:pPr>
            <a:r>
              <a:rPr lang="pt-pt" sz="1200" b="0" i="0" u="none" baseline="0" dirty="0"/>
              <a:t>Descoberta de dispositivos, visão geral/detalhes de parâmetros, visão geral/detalhes de falhas, transferência de software, perfil/definições de utilizador, definições da máquina e registos</a:t>
            </a:r>
          </a:p>
        </p:txBody>
      </p:sp>
      <p:pic>
        <p:nvPicPr>
          <p:cNvPr id="1026" name="Picture 2" descr="A screenshot of a software error&#10;&#10;Description automatically generated">
            <a:extLst>
              <a:ext uri="{FF2B5EF4-FFF2-40B4-BE49-F238E27FC236}">
                <a16:creationId xmlns:a16="http://schemas.microsoft.com/office/drawing/2014/main" id="{A502DD04-BAD6-B1C4-5ECB-7A5D0F5260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252415" y="476251"/>
            <a:ext cx="2460160" cy="5347548"/>
          </a:xfrm>
          <a:prstGeom prst="rect">
            <a:avLst/>
          </a:prstGeom>
          <a:solidFill>
            <a:srgbClr val="FFFFFF"/>
          </a:solidFill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2B248E5-E0D3-6A98-971A-0C4C0FB0D2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929" y="1248645"/>
            <a:ext cx="5510942" cy="376456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Digitalizada para uma melhor experiência de serviç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4B69527-06C8-E0B8-4B1D-D617CDBBF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241926" cy="388013"/>
          </a:xfrm>
        </p:spPr>
        <p:txBody>
          <a:bodyPr anchor="t">
            <a:noAutofit/>
          </a:bodyPr>
          <a:lstStyle/>
          <a:p>
            <a:pPr algn="l" rtl="0"/>
            <a:r>
              <a:rPr lang="pt-pt" b="1" i="0" u="none" baseline="0" dirty="0"/>
              <a:t>Aplicação Ferramenta de Assistência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6C6E305-3CFE-7D71-9574-6AB5B0348E6C}"/>
              </a:ext>
            </a:extLst>
          </p:cNvPr>
          <p:cNvSpPr txBox="1"/>
          <p:nvPr/>
        </p:nvSpPr>
        <p:spPr>
          <a:xfrm>
            <a:off x="9252415" y="5947500"/>
            <a:ext cx="91543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pt-pt" sz="1050" b="0" i="0" u="none" baseline="0"/>
              <a:t>*esboço </a:t>
            </a:r>
            <a:r>
              <a:rPr lang="pt-pt" sz="1050" b="0" i="0" u="none" baseline="0" dirty="0"/>
              <a:t>visua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4F59901-123D-AD60-AA73-68A8485DE59C}"/>
              </a:ext>
            </a:extLst>
          </p:cNvPr>
          <p:cNvSpPr txBox="1">
            <a:spLocks/>
          </p:cNvSpPr>
          <p:nvPr/>
        </p:nvSpPr>
        <p:spPr>
          <a:xfrm>
            <a:off x="449929" y="1991243"/>
            <a:ext cx="5510942" cy="2875514"/>
          </a:xfrm>
          <a:prstGeom prst="rect">
            <a:avLst/>
          </a:prstGeom>
          <a:noFill/>
          <a:effectLst/>
        </p:spPr>
        <p:txBody>
          <a:bodyPr vert="horz" lIns="0" tIns="0" rIns="0" bIns="0" rtlCol="0" anchor="t">
            <a:norm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pt-pt" sz="1200" b="0" i="0" u="none" baseline="0" dirty="0"/>
              <a:t>No âmbito do projeto MH, a ferramenta de assistência foi atualizada para incluir desenvolvimentos atuais e futuros. 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pt-pt" sz="1200" b="0" i="0" u="none" baseline="0" dirty="0"/>
              <a:t>A nova Aplicação de Ferramenta de Assistência permite que a nossa organização de assistência e rede de concessionários se </a:t>
            </a:r>
            <a:br>
              <a:rPr lang="pt-pt" sz="1200" dirty="0"/>
            </a:br>
            <a:r>
              <a:rPr lang="pt-pt" sz="1200" b="0" i="0" u="none" baseline="0" dirty="0"/>
              <a:t>liguem à nova gama MH via Bluetooth. </a:t>
            </a:r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pt-pt" sz="1200" b="0" i="0" u="none" baseline="0" dirty="0"/>
              <a:t>A Ferramenta de Assistência foi desenvolvida para funcionar em iOS e Android.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pt-pt" sz="1200" b="0" i="0" u="none" baseline="0" dirty="0"/>
              <a:t>Em conjunto com as janelas pop-up de erro da MH35-85s, tanto os técnicos de assistência como os distribuidores podem obter um melhor feedback sobre problemas ou erros na máquina antes da visita de assistência. 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pt-pt" sz="1200" b="0" i="0" u="none" baseline="0" dirty="0"/>
              <a:t>A Ferramenta de Assistência irá funcionar nas novas máquinas MH Advanced e Standard.</a:t>
            </a:r>
          </a:p>
        </p:txBody>
      </p:sp>
    </p:spTree>
    <p:extLst>
      <p:ext uri="{BB962C8B-B14F-4D97-AF65-F5344CB8AC3E}">
        <p14:creationId xmlns:p14="http://schemas.microsoft.com/office/powerpoint/2010/main" val="1772000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EA843F-BAC9-7D53-0C42-3D2CE63453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6E647D-1EAE-D6BC-482D-061242607B1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dirty="0"/>
              <a:t>7</a:t>
            </a:r>
            <a:endParaRPr lang="pt-pt" b="1" i="0" u="none" baseline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F89232-F42B-A029-15D7-0662DE559A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 dirty="0"/>
              <a:t>Patent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C4813D-2F27-00B7-057C-F1DDED392C8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6BFF22-B1F4-4C14-DC2E-C8C7A42EE14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4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212482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84130B6F-CC41-A42D-75A1-31A6C4CEB64B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Maior eficiência através do pré-aquecimento da água antes da bomba  </a:t>
            </a:r>
          </a:p>
          <a:p>
            <a:endParaRPr lang="pt-pt" noProof="0" dirty="0"/>
          </a:p>
          <a:p>
            <a:pPr algn="l" rtl="0"/>
            <a:r>
              <a:rPr lang="pt-pt" b="0" i="0" u="none" baseline="0"/>
              <a:t>Valor para o cliente</a:t>
            </a:r>
          </a:p>
          <a:p>
            <a:pPr lvl="1" algn="l" rtl="0"/>
            <a:r>
              <a:rPr lang="pt-pt" b="0" i="0" u="none" baseline="0"/>
              <a:t>Redução dos custos de combustível</a:t>
            </a:r>
          </a:p>
          <a:p>
            <a:pPr lvl="1" algn="l" rtl="0"/>
            <a:r>
              <a:rPr lang="pt-pt" b="0" i="0" u="none" baseline="0"/>
              <a:t>Menos emissões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E14D470-1100-DB57-6FFC-F0A2A13682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sz="1600" b="1" i="0" u="none" baseline="0"/>
              <a:t>Caldeira com eficiência energética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EA508C21-FB96-152B-2E0E-653C54B4EEE4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Dosagem mais precisa do detergente através de solenóides </a:t>
            </a:r>
            <a:br>
              <a:rPr lang="pt-pt"/>
            </a:br>
            <a:endParaRPr lang="pt-pt" noProof="0" dirty="0"/>
          </a:p>
          <a:p>
            <a:endParaRPr lang="pt-pt" noProof="0" dirty="0"/>
          </a:p>
          <a:p>
            <a:pPr algn="l" rtl="0"/>
            <a:r>
              <a:rPr lang="pt-pt" b="0" i="0" u="none" baseline="0"/>
              <a:t>Valor para o cliente</a:t>
            </a:r>
          </a:p>
          <a:p>
            <a:pPr lvl="1" algn="l" rtl="0"/>
            <a:r>
              <a:rPr lang="pt-pt" b="0" i="0" u="none" baseline="0"/>
              <a:t>Menor utilização de detergent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2DCED94B-D3F0-E8A6-639D-21CBD28475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algn="l" rtl="0"/>
            <a:r>
              <a:rPr lang="pt-pt" sz="1600" b="1" i="0" u="none" baseline="0"/>
              <a:t>Dosagem de detergente </a:t>
            </a:r>
            <a:br>
              <a:rPr lang="pt-pt" sz="1600"/>
            </a:br>
            <a:r>
              <a:rPr lang="pt-pt" sz="1600" b="1" i="0" u="none" baseline="0"/>
              <a:t>(pendente)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C7C6E30C-A0AD-3126-A6D8-0A1DA3BE8150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Deteção de chama acústica</a:t>
            </a:r>
            <a:br>
              <a:rPr lang="pt-pt"/>
            </a:br>
            <a:endParaRPr lang="pt-pt" noProof="0" dirty="0"/>
          </a:p>
          <a:p>
            <a:pPr marL="0" indent="0" algn="l" rtl="0">
              <a:buNone/>
            </a:pPr>
            <a:br>
              <a:rPr lang="pt-pt"/>
            </a:br>
            <a:endParaRPr lang="pt-pt" noProof="0" dirty="0"/>
          </a:p>
          <a:p>
            <a:pPr algn="l" rtl="0"/>
            <a:r>
              <a:rPr lang="pt-pt" b="0" i="0" u="none" baseline="0"/>
              <a:t>Valor para o cliente</a:t>
            </a:r>
          </a:p>
          <a:p>
            <a:pPr lvl="1" algn="l" rtl="0"/>
            <a:r>
              <a:rPr lang="pt-pt" b="0" i="0" u="none" baseline="0"/>
              <a:t>Deteção de chama inoperacional</a:t>
            </a:r>
          </a:p>
          <a:p>
            <a:pPr lvl="1" algn="l" rtl="0"/>
            <a:r>
              <a:rPr lang="pt-pt" b="0" i="0" u="none" baseline="0"/>
              <a:t>Evita que a caldeira seja enchida com gasóleo se a chama não estiver a funcionar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14B71315-BF08-60BF-D917-F4F97DE4F3C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 algn="l" rtl="0"/>
            <a:r>
              <a:rPr lang="pt-pt" sz="1600" b="1" i="0" u="none" baseline="0"/>
              <a:t>Deteção de </a:t>
            </a:r>
            <a:br>
              <a:rPr lang="pt-pt" sz="1600"/>
            </a:br>
            <a:r>
              <a:rPr lang="pt-pt" sz="1600" b="1" i="0" u="none" baseline="0"/>
              <a:t>chama (pendente)</a:t>
            </a:r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E0BBDC4B-A08C-3CE4-BE84-6CC73632DC86}"/>
              </a:ext>
            </a:extLst>
          </p:cNvPr>
          <p:cNvSpPr>
            <a:spLocks noGrp="1"/>
          </p:cNvSpPr>
          <p:nvPr>
            <p:ph sz="quarter" idx="27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juda o utilizador a manter a máquina e a reparar problemas menores </a:t>
            </a:r>
          </a:p>
          <a:p>
            <a:endParaRPr lang="pt-pt" noProof="0" dirty="0"/>
          </a:p>
          <a:p>
            <a:pPr algn="l" rtl="0"/>
            <a:r>
              <a:rPr lang="pt-pt" b="0" i="0" u="none" baseline="0"/>
              <a:t>Valor para o cliente</a:t>
            </a:r>
          </a:p>
          <a:p>
            <a:pPr lvl="1" algn="l" rtl="0"/>
            <a:r>
              <a:rPr lang="pt-pt" b="0" i="0" u="none" baseline="0"/>
              <a:t>Tempo de funcionamento acrescido </a:t>
            </a:r>
          </a:p>
          <a:p>
            <a:pPr lvl="1" algn="l" rtl="0"/>
            <a:r>
              <a:rPr lang="pt-pt" b="0" i="0" u="none" baseline="0"/>
              <a:t>Vida útil média do produto </a:t>
            </a: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3C72CF44-C01F-94D5-10A4-A9D5F0FFB3C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 algn="l" rtl="0"/>
            <a:r>
              <a:rPr lang="pt-pt" sz="1600" b="1" i="0" u="none" baseline="0"/>
              <a:t>Interface de utilizador digital (pendente) </a:t>
            </a:r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897D5DCA-8F36-BB10-843F-E7B2837447DD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AFF67C63-8AB0-BFB9-689F-9940E32E349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5</a:t>
            </a:fld>
            <a:endParaRPr lang="pt-pt" noProof="0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08ACE587-A9DF-7FBE-E0BC-03358297AD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Gerando valor para o cliente e TCO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1A63BFDE-3A06-3755-57A8-BDF9CA0B7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Patentes</a:t>
            </a:r>
          </a:p>
        </p:txBody>
      </p:sp>
    </p:spTree>
    <p:extLst>
      <p:ext uri="{BB962C8B-B14F-4D97-AF65-F5344CB8AC3E}">
        <p14:creationId xmlns:p14="http://schemas.microsoft.com/office/powerpoint/2010/main" val="40441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0F0854-8200-5D3F-C97E-31FD1C480B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 dirty="0"/>
              <a:t>8</a:t>
            </a:r>
            <a:endParaRPr lang="pt-pt" b="1" i="0" u="none" baseline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B2FD78-BC3E-F2AD-5F46-1BE94F7F85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 dirty="0"/>
              <a:t>Resumo do produt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AAF5FA-0373-B035-0F6A-069BB1A5D3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8CF1E1-D0CA-B658-7C7C-02D9119E53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6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1626642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FCA17E-1825-3576-CFB1-0480A70B7B8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5FB165-8BB4-E48D-579B-DDF52240A9A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7</a:t>
            </a:fld>
            <a:endParaRPr lang="pt-pt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3B7DE7-4429-2248-6677-D3892DBB29DF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vert="horz" lIns="216000" tIns="216000" rIns="180000" bIns="216000" rtlCol="0" anchor="t">
            <a:noAutofit/>
          </a:bodyPr>
          <a:lstStyle/>
          <a:p>
            <a:pPr marL="0" indent="0" algn="ctr" rtl="0">
              <a:lnSpc>
                <a:spcPct val="90000"/>
              </a:lnSpc>
              <a:buNone/>
            </a:pPr>
            <a:endParaRPr lang="pt-pt" sz="1200" b="1" noProof="0" dirty="0"/>
          </a:p>
          <a:p>
            <a:pPr marL="0" indent="0" algn="ctr" rtl="0">
              <a:lnSpc>
                <a:spcPct val="90000"/>
              </a:lnSpc>
              <a:buNone/>
            </a:pPr>
            <a:r>
              <a:rPr lang="pt-pt" sz="1200" b="1" i="0" u="none" baseline="0"/>
              <a:t>MH35-85 - Gama Advanced </a:t>
            </a:r>
            <a:endParaRPr lang="pt-pt" sz="1200" b="1" noProof="0" dirty="0">
              <a:ea typeface="Roboto Light"/>
              <a:cs typeface="Roboto Light"/>
            </a:endParaRPr>
          </a:p>
          <a:p>
            <a:pPr marL="0" indent="0" algn="ctr" rtl="0">
              <a:lnSpc>
                <a:spcPct val="90000"/>
              </a:lnSpc>
              <a:buNone/>
            </a:pPr>
            <a:endParaRPr lang="pt-pt" sz="1200" b="1" noProof="0" dirty="0"/>
          </a:p>
          <a:p>
            <a:pPr marL="0" indent="0" algn="l" rtl="0">
              <a:lnSpc>
                <a:spcPct val="90000"/>
              </a:lnSpc>
              <a:buNone/>
            </a:pPr>
            <a:r>
              <a:rPr lang="pt-pt" sz="1200" b="1" i="0" u="none" baseline="0"/>
              <a:t>Clientes alvo:</a:t>
            </a:r>
            <a:endParaRPr lang="pt-pt" sz="1200" b="1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Utilizadores profissionais que necessitam de uma limpeza contínua e intensiva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Profissionais altamente exigentes</a:t>
            </a:r>
            <a:br>
              <a:rPr lang="pt-pt" sz="1200"/>
            </a:br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lnSpc>
                <a:spcPct val="90000"/>
              </a:lnSpc>
              <a:buNone/>
              <a:defRPr sz="1600" b="0"/>
            </a:pPr>
            <a:r>
              <a:rPr lang="pt-pt" sz="1200" b="1" i="0" u="none" baseline="0"/>
              <a:t>Principais necessidades:</a:t>
            </a:r>
            <a:endParaRPr lang="pt-pt" sz="1200" b="1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Alto desempenho para sujidades e gorduras pesadas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Queimador eficiente em termos de combustível e fiabilidade de longo tempo de funcionamento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Manutenção fácil e otimização do tempo de atividade</a:t>
            </a:r>
            <a:br>
              <a:rPr lang="pt-pt" sz="1200"/>
            </a:br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lnSpc>
                <a:spcPct val="90000"/>
              </a:lnSpc>
              <a:buNone/>
              <a:defRPr sz="1600" b="0"/>
            </a:pPr>
            <a:r>
              <a:rPr lang="pt-pt" sz="1200" b="1" i="0" u="none" baseline="0"/>
              <a:t>Foco nas funcionalidades: </a:t>
            </a:r>
            <a:endParaRPr lang="pt-pt" sz="1200" b="1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Controlos avançados, eficiência, facilidade de manutenção</a:t>
            </a:r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lnSpc>
                <a:spcPct val="90000"/>
              </a:lnSpc>
              <a:buNone/>
              <a:defRPr sz="1600" b="0"/>
            </a:pPr>
            <a:endParaRPr lang="pt-pt" sz="1200" noProof="0" dirty="0"/>
          </a:p>
          <a:p>
            <a:pPr marL="0" indent="0" algn="l" rtl="0">
              <a:lnSpc>
                <a:spcPct val="90000"/>
              </a:lnSpc>
              <a:buNone/>
              <a:defRPr sz="1600" b="0"/>
            </a:pPr>
            <a:r>
              <a:rPr lang="pt-pt" sz="1200" b="1" i="0" u="none" baseline="0"/>
              <a:t>Prioridades: </a:t>
            </a:r>
            <a:endParaRPr lang="pt-pt" sz="1200" b="1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Desempenho, eficiência, durabilidade</a:t>
            </a:r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lnSpc>
                <a:spcPct val="90000"/>
              </a:lnSpc>
              <a:buNone/>
              <a:defRPr sz="1600" b="0"/>
            </a:pPr>
            <a:endParaRPr lang="pt-pt" sz="1200" noProof="0" dirty="0"/>
          </a:p>
          <a:p>
            <a:pPr marL="0" indent="0" algn="l" rtl="0">
              <a:lnSpc>
                <a:spcPct val="90000"/>
              </a:lnSpc>
              <a:buNone/>
              <a:defRPr sz="1600" b="0"/>
            </a:pPr>
            <a:r>
              <a:rPr lang="pt-pt" sz="1200" b="1" i="0" u="none" baseline="0"/>
              <a:t>Motivação principal:</a:t>
            </a:r>
            <a:r>
              <a:rPr lang="pt-pt" sz="1200" b="0" i="0" u="none" baseline="0"/>
              <a:t> </a:t>
            </a: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"Uma solução potente e eficiente construída para aplicações exigentes."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/>
            <a:endParaRPr lang="pt-pt" sz="1200" noProof="0" dirty="0">
              <a:ea typeface="Roboto Light"/>
              <a:cs typeface="Roboto Light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C442222-46A3-5044-F8C9-497C84DE0055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 vert="horz" lIns="216000" tIns="216000" rIns="180000" bIns="216000" rtlCol="0" anchor="t">
            <a:noAutofit/>
          </a:bodyPr>
          <a:lstStyle/>
          <a:p>
            <a:pPr marL="0" indent="0" algn="ctr" rtl="0">
              <a:lnSpc>
                <a:spcPct val="90000"/>
              </a:lnSpc>
              <a:buNone/>
            </a:pPr>
            <a:endParaRPr lang="pt-pt" sz="1200" b="1" noProof="0" dirty="0"/>
          </a:p>
          <a:p>
            <a:pPr marL="0" indent="0" algn="ctr" rtl="0">
              <a:lnSpc>
                <a:spcPct val="90000"/>
              </a:lnSpc>
              <a:buNone/>
            </a:pPr>
            <a:r>
              <a:rPr lang="pt-pt" sz="1200" b="1" i="0" u="none" baseline="0"/>
              <a:t>MH20-70 - Gama Standard </a:t>
            </a:r>
          </a:p>
          <a:p>
            <a:pPr marL="198755" indent="-198755" algn="l" rtl="0">
              <a:lnSpc>
                <a:spcPct val="90000"/>
              </a:lnSpc>
            </a:pPr>
            <a:endParaRPr lang="pt-pt" sz="1200" b="1" noProof="0" dirty="0">
              <a:ea typeface="Roboto Light"/>
              <a:cs typeface="Roboto Light"/>
            </a:endParaRPr>
          </a:p>
          <a:p>
            <a:pPr marL="0" indent="0" algn="l" rtl="0">
              <a:lnSpc>
                <a:spcPct val="90000"/>
              </a:lnSpc>
              <a:buNone/>
            </a:pPr>
            <a:r>
              <a:rPr lang="pt-pt" sz="1200" b="1" i="0" u="none" baseline="0"/>
              <a:t>Clientes alvo:</a:t>
            </a:r>
            <a:endParaRPr lang="pt-pt" sz="1200" b="1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Profissionais sensíveis ao orçamento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Para os utilizadores que apenas necessitam de funcionalidade básica </a:t>
            </a:r>
            <a:br>
              <a:rPr lang="pt-pt" sz="1200"/>
            </a:br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lnSpc>
                <a:spcPct val="90000"/>
              </a:lnSpc>
              <a:buNone/>
              <a:defRPr sz="1600" b="0"/>
            </a:pPr>
            <a:r>
              <a:rPr lang="pt-pt" sz="1200" b="1" i="0" u="none" baseline="0"/>
              <a:t>Principais necessidades:</a:t>
            </a:r>
            <a:endParaRPr lang="pt-pt" sz="1200" b="1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Limpeza rápida e flexível para ferramentas, veículos e superfícies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Desenho compacto e mobilidade fácil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Desempenho fiável e baixo custo operacional</a:t>
            </a:r>
            <a:br>
              <a:rPr lang="pt-pt" sz="1200"/>
            </a:br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lnSpc>
                <a:spcPct val="90000"/>
              </a:lnSpc>
              <a:buNone/>
              <a:defRPr sz="1600" b="0"/>
            </a:pPr>
            <a:r>
              <a:rPr lang="pt-pt" sz="1200" b="1" i="0" u="none" baseline="0"/>
              <a:t>Foco nas funcionalidades: </a:t>
            </a:r>
            <a:endParaRPr lang="pt-pt" sz="1200" b="1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Função de limpeza central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lnSpc>
                <a:spcPct val="90000"/>
              </a:lnSpc>
              <a:buNone/>
              <a:defRPr sz="1600" b="0"/>
            </a:pPr>
            <a:r>
              <a:rPr lang="pt-pt" sz="1200" b="1" i="0" u="none" baseline="0"/>
              <a:t>Prioridades: </a:t>
            </a:r>
            <a:endParaRPr lang="pt-pt" sz="1200" b="1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Acessibilidade, simplicidade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90000"/>
              </a:lnSpc>
              <a:defRPr sz="1600" b="0"/>
            </a:pPr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lnSpc>
                <a:spcPct val="90000"/>
              </a:lnSpc>
              <a:buNone/>
              <a:defRPr sz="1600" b="0"/>
            </a:pPr>
            <a:r>
              <a:rPr lang="pt-pt" sz="1200" b="1" i="0" u="none" baseline="0"/>
              <a:t>Motivação principal: </a:t>
            </a:r>
          </a:p>
          <a:p>
            <a:pPr marL="198755" indent="-198755" algn="l" rtl="0">
              <a:lnSpc>
                <a:spcPct val="90000"/>
              </a:lnSpc>
              <a:defRPr sz="1600" b="0"/>
            </a:pPr>
            <a:r>
              <a:rPr lang="pt-pt" sz="1200" b="0" i="0" u="none" baseline="0"/>
              <a:t>"Uma máquina de limpeza a água quente simples, eficiente e acessível para utilização diária."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/>
            <a:endParaRPr lang="pt-pt" sz="1200" noProof="0" dirty="0">
              <a:ea typeface="Roboto Light"/>
              <a:cs typeface="Roboto Light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D3FA59-0907-A693-AA59-60B08A7B39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Perfis de client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3C231A8-D010-A064-F0BF-776C1E659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Gama MH </a:t>
            </a:r>
          </a:p>
        </p:txBody>
      </p:sp>
    </p:spTree>
    <p:extLst>
      <p:ext uri="{BB962C8B-B14F-4D97-AF65-F5344CB8AC3E}">
        <p14:creationId xmlns:p14="http://schemas.microsoft.com/office/powerpoint/2010/main" val="138744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E143D2-E8FD-85D3-0A02-5B0ED624FD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ontent Placeholder 1">
            <a:extLst>
              <a:ext uri="{FF2B5EF4-FFF2-40B4-BE49-F238E27FC236}">
                <a16:creationId xmlns:a16="http://schemas.microsoft.com/office/drawing/2014/main" id="{E98B5A43-9FC8-30F0-F586-72E487536E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5521" y="1402365"/>
            <a:ext cx="11712575" cy="629133"/>
          </a:xfrm>
        </p:spPr>
        <p:txBody>
          <a:bodyPr anchor="t">
            <a:normAutofit fontScale="92500" lnSpcReduction="10000"/>
          </a:bodyPr>
          <a:lstStyle/>
          <a:p>
            <a:pPr marL="0" indent="0" algn="l" rtl="0">
              <a:buNone/>
            </a:pPr>
            <a:r>
              <a:rPr lang="pt-pt" sz="1600" b="0" i="0" u="none" baseline="0"/>
              <a:t>Com a gama MH, os clientes podem escolher o nível de desempenho que se adapta ao seu negócio - desde uma limpeza económica até uma produtividade premium. Cada modelo inclui a tecnologia de água quente comprovada da Nilfisk e a qualidade de confiança, garantindo durabilidade e desempenho duradouros em todas as necessidades e orçamentos.</a:t>
            </a:r>
          </a:p>
          <a:p>
            <a:endParaRPr lang="pt-pt" sz="1200" noProof="0" dirty="0"/>
          </a:p>
          <a:p>
            <a:endParaRPr lang="pt-pt" sz="1200" noProof="0" dirty="0"/>
          </a:p>
          <a:p>
            <a:endParaRPr lang="pt-pt" sz="1200" noProof="0" dirty="0"/>
          </a:p>
          <a:p>
            <a:endParaRPr lang="pt-pt" sz="1200" noProof="0" dirty="0"/>
          </a:p>
          <a:p>
            <a:endParaRPr lang="pt-pt" sz="1200" noProof="0" dirty="0"/>
          </a:p>
          <a:p>
            <a:endParaRPr lang="pt-pt" sz="1200" noProof="0" dirty="0"/>
          </a:p>
          <a:p>
            <a:endParaRPr lang="pt-pt" sz="1200" noProof="0" dirty="0"/>
          </a:p>
          <a:p>
            <a:pPr marL="0" indent="0" algn="l" rtl="0">
              <a:buNone/>
            </a:pPr>
            <a:endParaRPr lang="pt-pt" sz="1200" b="1" noProof="0" dirty="0">
              <a:ea typeface="Roboto Light" panose="02000000000000000000" pitchFamily="2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598061-C2F4-86A0-50E4-C29547F3833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087655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r>
              <a:rPr lang="pt-pt" b="0" i="0" u="none" baseline="0"/>
              <a:t>CONFIDENCIAL D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FAC226-9B57-BE5C-B650-70933AF8333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479426" y="6529068"/>
            <a:ext cx="270170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fld id="{6C385236-B7BA-4938-9EA6-6DEC8CA653D7}" type="slidenum">
              <a:rPr/>
              <a:pPr algn="l" rtl="0">
                <a:spcAft>
                  <a:spcPts val="600"/>
                </a:spcAft>
              </a:pPr>
              <a:t>38</a:t>
            </a:fld>
            <a:endParaRPr lang="pt-pt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AF8AD2-4320-4F97-B3FA-F0BBA1EA27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5507038" cy="376456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Uma gama, duas vitória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CBDBBC9-F880-2E52-46BC-23287B019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506081" cy="388013"/>
          </a:xfrm>
        </p:spPr>
        <p:txBody>
          <a:bodyPr anchor="t">
            <a:normAutofit/>
          </a:bodyPr>
          <a:lstStyle/>
          <a:p>
            <a:pPr algn="l" rtl="0"/>
            <a:r>
              <a:rPr lang="pt-pt" sz="2400" b="1" i="0" u="none" baseline="0"/>
              <a:t>A gama MH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073CB79-1EE7-2504-0A01-E657ED21E55F}"/>
              </a:ext>
            </a:extLst>
          </p:cNvPr>
          <p:cNvSpPr txBox="1">
            <a:spLocks/>
          </p:cNvSpPr>
          <p:nvPr/>
        </p:nvSpPr>
        <p:spPr>
          <a:xfrm>
            <a:off x="6244429" y="1845058"/>
            <a:ext cx="5149479" cy="487045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endParaRPr lang="pt-pt" sz="1200" noProof="0" dirty="0"/>
          </a:p>
          <a:p>
            <a:pPr marL="198755" indent="-198755" algn="l" rtl="0"/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endParaRPr lang="pt-pt" sz="1200" noProof="0" dirty="0"/>
          </a:p>
          <a:p>
            <a:pPr marL="0" indent="0" algn="l" rtl="0">
              <a:buNone/>
            </a:pPr>
            <a:r>
              <a:rPr lang="pt-pt" sz="1600" b="1" i="0" u="none" baseline="0">
                <a:solidFill>
                  <a:schemeClr val="accent3"/>
                </a:solidFill>
              </a:rPr>
              <a:t>Gama standard (MH20-70)</a:t>
            </a:r>
          </a:p>
          <a:p>
            <a:pPr marL="0" indent="0" algn="l" rtl="0">
              <a:buNone/>
            </a:pPr>
            <a:r>
              <a:rPr lang="pt-pt" sz="1200" b="1" i="0" u="none" baseline="0"/>
              <a:t>Fiável, eficiente e construído para oferecer valor</a:t>
            </a:r>
            <a:endParaRPr lang="pt-pt" sz="1200" noProof="0" dirty="0"/>
          </a:p>
          <a:p>
            <a:pPr marL="198755" indent="-198755" algn="l" rtl="0"/>
            <a:r>
              <a:rPr lang="pt-pt" sz="1200" b="0" i="0" u="none" baseline="0"/>
              <a:t>Equipada com a caldeira EcoPower, que fornece </a:t>
            </a:r>
            <a:r>
              <a:rPr lang="pt-pt" b="0" i="0" u="none" baseline="0"/>
              <a:t>~ </a:t>
            </a:r>
            <a:r>
              <a:rPr lang="pt-pt" sz="1200" b="0" i="0" u="none" baseline="0"/>
              <a:t>92% de eficiência energética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200" b="0" i="0" u="none" baseline="0">
                <a:ea typeface="Roboto Light"/>
                <a:cs typeface="Roboto Light"/>
              </a:rPr>
              <a:t>Lança universal e sistema de controlo simples para uma operação intuitiva</a:t>
            </a:r>
          </a:p>
          <a:p>
            <a:pPr marL="198755" indent="-198755" algn="l" rtl="0"/>
            <a:r>
              <a:rPr lang="pt-pt" sz="1200" b="0" i="0" u="none" baseline="0"/>
              <a:t>Certificação EUnited para eficiência e baixa poluição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200" b="0" i="0" u="none" baseline="0"/>
              <a:t>Compatível com biocombustível para emissões reduzidas e funcionamento mais limpo</a:t>
            </a:r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endParaRPr lang="pt-pt" sz="1200" noProof="0" dirty="0"/>
          </a:p>
          <a:p>
            <a:pPr marL="198755" indent="-198755" algn="l" rtl="0">
              <a:buFont typeface="Wingdings" panose="05000000000000000000" pitchFamily="2" charset="2"/>
              <a:buChar char="ü"/>
            </a:pPr>
            <a:r>
              <a:rPr lang="pt-pt" sz="1200" b="0" i="0" u="none" baseline="0"/>
              <a:t>Qualidade Nilfisk comprovada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buFont typeface="Wingdings" panose="05000000000000000000" pitchFamily="2" charset="2"/>
              <a:buChar char="ü"/>
            </a:pPr>
            <a:r>
              <a:rPr lang="pt-pt" sz="1200" b="0" i="0" u="none" baseline="0"/>
              <a:t>Fácil de usar 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buFont typeface="Wingdings" panose="05000000000000000000" pitchFamily="2" charset="2"/>
              <a:buChar char="ü"/>
            </a:pPr>
            <a:r>
              <a:rPr lang="pt-pt" sz="1200" b="0" i="0" u="none" baseline="0"/>
              <a:t>Baixos custos operacionais e resultados fiáveis</a:t>
            </a:r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buFont typeface="Arial" panose="020B0604020202020204" pitchFamily="34" charset="0"/>
              <a:buNone/>
            </a:pPr>
            <a:endParaRPr lang="pt-pt" sz="1200" b="1" noProof="0" dirty="0">
              <a:ea typeface="Roboto Light" panose="02000000000000000000" pitchFamily="2" charset="0"/>
            </a:endParaRP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BAB01AD1-ED53-7382-4030-6ED7115D090E}"/>
              </a:ext>
            </a:extLst>
          </p:cNvPr>
          <p:cNvSpPr txBox="1">
            <a:spLocks/>
          </p:cNvSpPr>
          <p:nvPr/>
        </p:nvSpPr>
        <p:spPr>
          <a:xfrm>
            <a:off x="605179" y="1402365"/>
            <a:ext cx="5149479" cy="487045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endParaRPr lang="pt-pt" sz="1200" noProof="0" dirty="0"/>
          </a:p>
          <a:p>
            <a:pPr marL="198755" indent="-198755" algn="l" rtl="0"/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/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/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endParaRPr lang="pt-pt" sz="1600" noProof="0" dirty="0"/>
          </a:p>
          <a:p>
            <a:pPr marL="0" indent="0" algn="l" rtl="0">
              <a:buNone/>
            </a:pPr>
            <a:r>
              <a:rPr lang="pt-pt" sz="1600" b="1" i="0" u="none" baseline="0">
                <a:solidFill>
                  <a:schemeClr val="accent3"/>
                </a:solidFill>
              </a:rPr>
              <a:t>Gama avançada (MH35-85)</a:t>
            </a:r>
            <a:endParaRPr lang="pt-pt" sz="1600" b="1" noProof="0" dirty="0">
              <a:solidFill>
                <a:schemeClr val="accent3"/>
              </a:solidFill>
              <a:ea typeface="Roboto Light"/>
              <a:cs typeface="Roboto Light"/>
            </a:endParaRPr>
          </a:p>
          <a:p>
            <a:pPr marL="0" indent="0" algn="l" rtl="0">
              <a:buNone/>
            </a:pPr>
            <a:r>
              <a:rPr lang="pt-pt" sz="1200" b="1" i="0" u="none" baseline="0"/>
              <a:t>Desempenho avançado com tempo de atividade máximo</a:t>
            </a:r>
            <a:endParaRPr lang="pt-pt" sz="1200" noProof="0" dirty="0"/>
          </a:p>
          <a:p>
            <a:pPr marL="198755" indent="-198755" algn="l" rtl="0"/>
            <a:r>
              <a:rPr lang="pt-pt" sz="1200" b="0" i="0" u="none" baseline="0"/>
              <a:t>Apresenta a Caldeira com Eficiência Energética Patenteada, que fornece </a:t>
            </a:r>
            <a:r>
              <a:rPr lang="pt-pt" b="0" i="0" u="none" baseline="0"/>
              <a:t>~</a:t>
            </a:r>
            <a:r>
              <a:rPr lang="pt-pt" sz="1200" b="0" i="0" u="none" baseline="0"/>
              <a:t> 96% de eficiência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200" b="0" i="0" u="none" baseline="0"/>
              <a:t>A lança Tornado ajustável e o sistema de detergente interno garantem uma limpeza precisa e menos desperdício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200" b="0" i="0" u="none" baseline="0"/>
              <a:t>Inclui sensores de combustível e chama para um desempenho otimizado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200" b="0" i="0" u="none" baseline="0"/>
              <a:t>Concebida para utilizadores exigentes que pretendem o melhor tempo de atividade e controlo</a:t>
            </a:r>
          </a:p>
          <a:p>
            <a:pPr marL="198755" indent="-198755" algn="l" rtl="0"/>
            <a:r>
              <a:rPr lang="pt-pt" sz="1200" b="0" i="0" u="none" baseline="0"/>
              <a:t>Certificada pela EUnited e compatível com biocombustível para emissões reduzidas e funcionamento mais limpo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/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buFont typeface="Wingdings" panose="05000000000000000000" pitchFamily="2" charset="2"/>
              <a:buChar char="ü"/>
            </a:pPr>
            <a:r>
              <a:rPr lang="pt-pt" sz="1200" b="0" i="0" u="none" baseline="0"/>
              <a:t> Operação mais inteligente com visor digital e diagnóstico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buFont typeface="Wingdings" panose="05000000000000000000" pitchFamily="2" charset="2"/>
              <a:buChar char="ü"/>
            </a:pPr>
            <a:r>
              <a:rPr lang="pt-pt" sz="1200" b="0" i="0" u="none" baseline="0"/>
              <a:t> Desenvolvida para alta disponibilidade e limpeza intensiva</a:t>
            </a:r>
            <a:endParaRPr lang="pt-pt" sz="1200" noProof="0" dirty="0">
              <a:ea typeface="Roboto Light"/>
              <a:cs typeface="Roboto Light"/>
            </a:endParaRPr>
          </a:p>
          <a:p>
            <a:pPr marL="198755" indent="-198755" algn="l" rtl="0">
              <a:buFont typeface="Wingdings" panose="05000000000000000000" pitchFamily="2" charset="2"/>
              <a:buChar char="ü"/>
            </a:pPr>
            <a:r>
              <a:rPr lang="pt-pt" sz="1200" b="0" i="0" u="none" baseline="0"/>
              <a:t> Baixo custo total de propriedade através de controlo e eficiência avançados</a:t>
            </a:r>
            <a:endParaRPr lang="pt-pt" sz="1200" noProof="0" dirty="0">
              <a:ea typeface="Roboto Light"/>
              <a:cs typeface="Roboto Light"/>
            </a:endParaRPr>
          </a:p>
          <a:p>
            <a:pPr marL="0" indent="0" algn="l" rtl="0">
              <a:buFont typeface="Arial" panose="020B0604020202020204" pitchFamily="34" charset="0"/>
              <a:buNone/>
            </a:pPr>
            <a:endParaRPr lang="pt-pt" sz="1200" b="1" noProof="0" dirty="0">
              <a:ea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0905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7E0895-CA40-036A-A70F-9A367AB8FDF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087655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82AE44-825B-6F93-C4C7-DE4A62BBBF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479426" y="6529068"/>
            <a:ext cx="270170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fld id="{6C385236-B7BA-4938-9EA6-6DEC8CA653D7}" type="slidenum">
              <a:rPr/>
              <a:pPr algn="l" rtl="0">
                <a:spcAft>
                  <a:spcPts val="600"/>
                </a:spcAft>
              </a:pPr>
              <a:t>39</a:t>
            </a:fld>
            <a:endParaRPr lang="pt-pt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6917F8-B97D-6391-E0DA-06663538E17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663700" y="1419951"/>
            <a:ext cx="4265050" cy="3526699"/>
          </a:xfrm>
          <a:effectLst/>
        </p:spPr>
        <p:txBody>
          <a:bodyPr lIns="0" tIns="0" rIns="0" bIns="0">
            <a:normAutofit lnSpcReduction="10000"/>
          </a:bodyPr>
          <a:lstStyle/>
          <a:p>
            <a:pPr marL="0" indent="0" algn="l" rtl="0">
              <a:buNone/>
            </a:pPr>
            <a:r>
              <a:rPr lang="pt-pt" b="1" i="0" u="none" baseline="0">
                <a:latin typeface="+mj-lt"/>
                <a:ea typeface="+mj-lt"/>
                <a:cs typeface="+mj-lt"/>
              </a:rPr>
              <a:t>Desempenho</a:t>
            </a:r>
          </a:p>
          <a:p>
            <a:pPr marL="180000" lvl="1" indent="-180000" algn="l" rtl="0">
              <a:buFont typeface="Arial" panose="020B0604020202020204" pitchFamily="34" charset="0"/>
              <a:buChar char="•"/>
            </a:pPr>
            <a:r>
              <a:rPr lang="pt-pt" b="0" i="0" u="none" baseline="0"/>
              <a:t>Tecnologia de caldeiras líder na indústria com ~ 96% de eficiência</a:t>
            </a:r>
          </a:p>
          <a:p>
            <a:pPr marL="180000" lvl="1" indent="-180000" algn="l" rtl="0">
              <a:buFont typeface="Arial" panose="020B0604020202020204" pitchFamily="34" charset="0"/>
              <a:buChar char="•"/>
            </a:pPr>
            <a:r>
              <a:rPr lang="pt-pt" b="0" i="0" u="none" baseline="0"/>
              <a:t>As melhores bombas e bocais de alta eficiência da sua classe </a:t>
            </a:r>
          </a:p>
          <a:p>
            <a:pPr marL="0" indent="0" algn="l" rtl="0">
              <a:buNone/>
            </a:pPr>
            <a:endParaRPr lang="pt-pt" b="1" noProof="0" dirty="0"/>
          </a:p>
          <a:p>
            <a:pPr marL="0" indent="0" algn="l" rtl="0">
              <a:buNone/>
            </a:pPr>
            <a:r>
              <a:rPr lang="pt-pt" b="1" i="0" u="none" baseline="0">
                <a:latin typeface="+mj-lt"/>
                <a:ea typeface="+mj-lt"/>
                <a:cs typeface="+mj-lt"/>
              </a:rPr>
              <a:t>Controlo</a:t>
            </a:r>
          </a:p>
          <a:p>
            <a:pPr marL="180000" lvl="1" indent="-180000" algn="l" rtl="0">
              <a:buFont typeface="Arial" panose="020B0604020202020204" pitchFamily="34" charset="0"/>
              <a:buChar char="•"/>
            </a:pPr>
            <a:r>
              <a:rPr lang="pt-pt" b="0" i="0" u="none" baseline="0"/>
              <a:t>Ajuste a máquina para as definições de limpeza preferidas </a:t>
            </a:r>
          </a:p>
          <a:p>
            <a:pPr marL="180000" lvl="1" indent="-180000" algn="l" rtl="0">
              <a:buFont typeface="Arial" panose="020B0604020202020204" pitchFamily="34" charset="0"/>
              <a:buChar char="•"/>
            </a:pPr>
            <a:r>
              <a:rPr lang="pt-pt" b="0" i="0" u="none" baseline="0"/>
              <a:t>Definições bloqueáveis </a:t>
            </a:r>
          </a:p>
          <a:p>
            <a:pPr marL="0" indent="0" algn="l" rtl="0">
              <a:buNone/>
            </a:pPr>
            <a:endParaRPr lang="pt-pt" b="1" noProof="0" dirty="0"/>
          </a:p>
          <a:p>
            <a:pPr marL="0" indent="0" algn="l" rtl="0">
              <a:buNone/>
            </a:pPr>
            <a:r>
              <a:rPr lang="pt-pt" b="1" i="0" u="none" baseline="0">
                <a:latin typeface="+mj-lt"/>
                <a:ea typeface="+mj-lt"/>
                <a:cs typeface="+mj-lt"/>
              </a:rPr>
              <a:t>Sustentabilidade</a:t>
            </a:r>
          </a:p>
          <a:p>
            <a:pPr marL="180000" lvl="1" indent="-180000" algn="l" rtl="0">
              <a:buFont typeface="Arial" panose="020B0604020202020204" pitchFamily="34" charset="0"/>
              <a:buChar char="•"/>
            </a:pPr>
            <a:r>
              <a:rPr lang="pt-pt" b="0" i="0" u="none" baseline="0"/>
              <a:t>Compatível com biocombustível </a:t>
            </a:r>
          </a:p>
          <a:p>
            <a:pPr marL="180000" lvl="1" indent="-180000" algn="l" rtl="0">
              <a:buFont typeface="Arial" panose="020B0604020202020204" pitchFamily="34" charset="0"/>
              <a:buChar char="•"/>
            </a:pPr>
            <a:r>
              <a:rPr lang="pt-pt" b="0" i="0" u="none" baseline="0"/>
              <a:t>Eficiência de combustível </a:t>
            </a:r>
          </a:p>
          <a:p>
            <a:pPr marL="180000" lvl="1" indent="-180000" algn="l" rtl="0">
              <a:buFont typeface="Arial" panose="020B0604020202020204" pitchFamily="34" charset="0"/>
              <a:buChar char="•"/>
            </a:pPr>
            <a:r>
              <a:rPr lang="pt-pt" b="0" i="0" u="none" baseline="0"/>
              <a:t>Dosagem precisa do detergent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06FC5C2E-8346-A7B0-43ED-B58E2ABF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MH35-85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20A6CF9-A546-8F89-007B-AB5B30F39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anchor="t">
            <a:noAutofit/>
          </a:bodyPr>
          <a:lstStyle/>
          <a:p>
            <a:pPr algn="l" rtl="0"/>
            <a:r>
              <a:rPr lang="pt-pt" b="1" i="0" u="none" baseline="0"/>
              <a:t>Principais pontos para venda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8C2B62-B7CF-6F1E-325D-834FBFCFA32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0775" y="0"/>
            <a:ext cx="5991225" cy="6283325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964E10CC-74BA-ECCF-4589-DB8A6A691B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5521" y="1441515"/>
            <a:ext cx="847574" cy="475468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D1B5076-60B1-F419-66B6-5C5BD82385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9447" y="3683442"/>
            <a:ext cx="682898" cy="682898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A177B03E-4E9D-14A5-78DE-6EC0E69BF9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5760" y="2697791"/>
            <a:ext cx="716585" cy="731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48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342B61-BCB7-D89E-E8A6-853CB34B3D7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087655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10D15D-859F-25B6-9A34-4C0DB5A4049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479426" y="6529068"/>
            <a:ext cx="270170" cy="153888"/>
          </a:xfrm>
        </p:spPr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fld id="{6C385236-B7BA-4938-9EA6-6DEC8CA653D7}" type="slidenum">
              <a:rPr/>
              <a:pPr>
                <a:spcAft>
                  <a:spcPts val="600"/>
                </a:spcAft>
              </a:pPr>
              <a:t>4</a:t>
            </a:fld>
            <a:endParaRPr lang="pt-pt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80A98F6-D27E-D01E-FD68-66D2ACA893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5507038" cy="376456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Nova gama MH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8B90BBB-48BC-BCE5-E227-0A6DF1A130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506081" cy="388013"/>
          </a:xfrm>
        </p:spPr>
        <p:txBody>
          <a:bodyPr anchor="t">
            <a:noAutofit/>
          </a:bodyPr>
          <a:lstStyle/>
          <a:p>
            <a:pPr algn="l" rtl="0"/>
            <a:r>
              <a:rPr lang="pt-pt" b="1" i="0" u="none" baseline="0"/>
              <a:t>Proposta de valor 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1B3E529D-20E8-DDCA-7758-9A2AD5DA819A}"/>
              </a:ext>
            </a:extLst>
          </p:cNvPr>
          <p:cNvSpPr txBox="1">
            <a:spLocks/>
          </p:cNvSpPr>
          <p:nvPr/>
        </p:nvSpPr>
        <p:spPr>
          <a:xfrm>
            <a:off x="404010" y="2350196"/>
            <a:ext cx="3638865" cy="1581551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lnSpc>
                <a:spcPct val="120000"/>
              </a:lnSpc>
              <a:spcBef>
                <a:spcPts val="336"/>
              </a:spcBef>
              <a:buNone/>
            </a:pPr>
            <a:r>
              <a:rPr lang="pt-pt" sz="1200" b="0" i="0" u="none" baseline="0" dirty="0"/>
              <a:t>O seu sucesso está no centro das nossas soluções.</a:t>
            </a:r>
            <a:endParaRPr lang="pt-pt" sz="1200" noProof="0" dirty="0">
              <a:ea typeface="Roboto Light"/>
              <a:cs typeface="Roboto Light"/>
            </a:endParaRPr>
          </a:p>
          <a:p>
            <a:pPr marL="0" indent="0" algn="ctr" rtl="0">
              <a:lnSpc>
                <a:spcPct val="120000"/>
              </a:lnSpc>
              <a:spcBef>
                <a:spcPts val="336"/>
              </a:spcBef>
              <a:buNone/>
            </a:pPr>
            <a:endParaRPr lang="pt-pt" sz="1200" noProof="0" dirty="0">
              <a:ea typeface="Roboto Light"/>
              <a:cs typeface="Roboto Light"/>
            </a:endParaRPr>
          </a:p>
          <a:p>
            <a:pPr marL="0" indent="0" algn="ctr" rtl="0">
              <a:lnSpc>
                <a:spcPct val="150000"/>
              </a:lnSpc>
              <a:buNone/>
            </a:pPr>
            <a:r>
              <a:rPr lang="pt-pt" sz="1200" b="0" i="0" u="none" baseline="0" dirty="0"/>
              <a:t>As nossas lavadoras de alta pressão de água quente versáteis com tecnologia de caldeira compatível com biocombustível são economicamente otimizadas para as necessidades de limpeza mais exigentes, ajudando os operadores a trabalhar da forma mais eficiente possível, para que a sua equipa prospere e o seu negócio tenha sucesso.</a:t>
            </a:r>
            <a:endParaRPr lang="pt-pt" sz="1200" noProof="0" dirty="0">
              <a:ea typeface="Roboto Light"/>
              <a:cs typeface="Roboto Ligh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128DF8E-4B06-9D89-D0B8-2D903854C9D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2913" y="0"/>
            <a:ext cx="7939087" cy="628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07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0F0854-8200-5D3F-C97E-31FD1C480B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dirty="0"/>
              <a:t>9</a:t>
            </a:r>
            <a:endParaRPr lang="pt-pt" b="1" i="0" u="none" baseline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B2FD78-BC3E-F2AD-5F46-1BE94F7F85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 dirty="0"/>
              <a:t>Características técnica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AAF5FA-0373-B035-0F6A-069BB1A5D3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8CF1E1-D0CA-B658-7C7C-02D9119E53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0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1038617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8F8C57-08EE-7130-449D-8E7CF0F3DD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DF5BF84-D519-4B06-9718-401E557F5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Modelos da gama Advanced - especificações técnicas.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2327CFB-59AB-4CDB-B523-AB56645E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35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C0B466D-E7FF-E61B-D5CD-C6D29A595B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9A041E5-1E8F-9132-F7FC-45F1FF3C29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1</a:t>
            </a:fld>
            <a:endParaRPr lang="pt-pt" noProof="0" dirty="0"/>
          </a:p>
        </p:txBody>
      </p:sp>
      <p:graphicFrame>
        <p:nvGraphicFramePr>
          <p:cNvPr id="9" name="Pladsholder til indhold 8">
            <a:extLst>
              <a:ext uri="{FF2B5EF4-FFF2-40B4-BE49-F238E27FC236}">
                <a16:creationId xmlns:a16="http://schemas.microsoft.com/office/drawing/2014/main" id="{AAF437A8-891B-571E-4D26-EB672C41CB3D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571163291"/>
              </p:ext>
            </p:extLst>
          </p:nvPr>
        </p:nvGraphicFramePr>
        <p:xfrm>
          <a:off x="479425" y="1350236"/>
          <a:ext cx="11232000" cy="4923569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052000">
                  <a:extLst>
                    <a:ext uri="{9D8B030D-6E8A-4147-A177-3AD203B41FA5}">
                      <a16:colId xmlns:a16="http://schemas.microsoft.com/office/drawing/2014/main" val="2183510017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933127575"/>
                    </a:ext>
                  </a:extLst>
                </a:gridCol>
                <a:gridCol w="2142000">
                  <a:extLst>
                    <a:ext uri="{9D8B030D-6E8A-4147-A177-3AD203B41FA5}">
                      <a16:colId xmlns:a16="http://schemas.microsoft.com/office/drawing/2014/main" val="2961561199"/>
                    </a:ext>
                  </a:extLst>
                </a:gridCol>
                <a:gridCol w="2142000">
                  <a:extLst>
                    <a:ext uri="{9D8B030D-6E8A-4147-A177-3AD203B41FA5}">
                      <a16:colId xmlns:a16="http://schemas.microsoft.com/office/drawing/2014/main" val="2584571107"/>
                    </a:ext>
                  </a:extLst>
                </a:gridCol>
                <a:gridCol w="2142000">
                  <a:extLst>
                    <a:ext uri="{9D8B030D-6E8A-4147-A177-3AD203B41FA5}">
                      <a16:colId xmlns:a16="http://schemas.microsoft.com/office/drawing/2014/main" val="2524797807"/>
                    </a:ext>
                  </a:extLst>
                </a:gridCol>
                <a:gridCol w="2142000">
                  <a:extLst>
                    <a:ext uri="{9D8B030D-6E8A-4147-A177-3AD203B41FA5}">
                      <a16:colId xmlns:a16="http://schemas.microsoft.com/office/drawing/2014/main" val="1956460252"/>
                    </a:ext>
                  </a:extLst>
                </a:gridCol>
              </a:tblGrid>
              <a:tr h="344621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odelo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0000" marR="0" marT="32400" marB="3240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 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32400" marB="32400" anchor="b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35C-180/780 PAX </a:t>
                      </a:r>
                      <a:br>
                        <a:rPr lang="pt-pt" sz="9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</a:b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230-400/3/50 NO 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2400" marB="324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35C-180/780 PAX </a:t>
                      </a:r>
                      <a:br>
                        <a:rPr lang="pt-pt" sz="9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</a:b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400/3/50 EU 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2400" marB="324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35C-145/600 PA </a:t>
                      </a:r>
                      <a:br>
                        <a:rPr lang="pt-pt" sz="9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</a:b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230/1/50 EU 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2400" marB="324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35C-145/600 PAX </a:t>
                      </a:r>
                      <a:br>
                        <a:rPr lang="pt-pt" sz="9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</a:b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230/1/50 EU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2400" marB="324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312663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úmero do artig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0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5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5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8195909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ão de Alimentaçã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V/ph/Hz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30-400/3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0/3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30/1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30/1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8500359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usív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499806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ificação de potênci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W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,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,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3267355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ressão de trabalh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ar (MP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8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8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0971575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/h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7265945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máximo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/h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8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8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2278649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mperatura máxima de entrada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°C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1223817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ressão máxima de entrada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ar (MP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500944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ressão mínima de entrada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ar (MP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3241979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CxLxA da embalagem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m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10x700x10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10x700x10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10x700x10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10x700x10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3780316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g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3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38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1707252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ressão sonora LPA.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(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9261790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otência acústica LW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(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3203888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mpacto da limpez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g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,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,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0095805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amanho do boca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°/#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4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4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34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34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3522404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mperatura máx. da água (quente/vapor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°C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4120434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mbustível Delta T 45 °C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g/h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6570824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e aqueciment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W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3834846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pósito de combustív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7156900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ipo de combustível da caldeir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431621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pósito de detergente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2400" marB="324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74059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734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6BB6DC-9C06-F9E2-F5F0-0A8851C247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BF21C82-4B46-3F58-0D80-17C3880FA7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Modelos da gama Advanced - especificações técnicas.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EDF3DFA-B791-47D8-758C-20B843A78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45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C840DC7-1CA5-C5D8-DA07-1CBAD0B7E2F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4EAEC5A-0AA6-803B-D09C-B909333AD5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2</a:t>
            </a:fld>
            <a:endParaRPr lang="pt-pt" noProof="0" dirty="0"/>
          </a:p>
        </p:txBody>
      </p:sp>
      <p:graphicFrame>
        <p:nvGraphicFramePr>
          <p:cNvPr id="9" name="Pladsholder til indhold 8">
            <a:extLst>
              <a:ext uri="{FF2B5EF4-FFF2-40B4-BE49-F238E27FC236}">
                <a16:creationId xmlns:a16="http://schemas.microsoft.com/office/drawing/2014/main" id="{7EEF4A17-D486-7955-22FA-2A88814F956A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202256387"/>
              </p:ext>
            </p:extLst>
          </p:nvPr>
        </p:nvGraphicFramePr>
        <p:xfrm>
          <a:off x="479425" y="1350236"/>
          <a:ext cx="11232000" cy="494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052000">
                  <a:extLst>
                    <a:ext uri="{9D8B030D-6E8A-4147-A177-3AD203B41FA5}">
                      <a16:colId xmlns:a16="http://schemas.microsoft.com/office/drawing/2014/main" val="2183510017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933127575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117270697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1804881975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75363585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961561199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584571107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524797807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1956460252"/>
                    </a:ext>
                  </a:extLst>
                </a:gridCol>
              </a:tblGrid>
              <a:tr h="344621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odelo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0000" marR="0" marT="32400" marB="3240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 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32400" marB="32400" anchor="b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45M-100/680 PA 230/1/50 UK 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45M-100/680 PAX 230/1/50 UK 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45M-200/960 FA 230-400/3/50 NO 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45M-200/960 FA 400/3/50 EU 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45M-200/960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FAX 230-400/3/50 NO 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45M-200/960 FAX 400/3/50 EU 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45M-200/960 PAX 400/3/50 EU 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312663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úmero do artig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2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24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1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04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18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0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0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8195909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ão de Alimentaçã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V/ph/Hz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30/1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30/1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30-400/3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0/3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30-400/3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0/3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0/3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8500359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usív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C1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25/C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25/C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499806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ificação de potênci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W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,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,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,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,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,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3267355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ressão de trabalh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ar (MP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0971575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/h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9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9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9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9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9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7265945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máximo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/h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8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8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6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6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6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6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6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2278649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mperatura máxima de entrada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°C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1223817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ressão máxima de entrada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ar (MP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500944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ressão mínima de entrada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ar (MP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3241979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CxLxA da embalagem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m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10x700x10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10x700x10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10x700x10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10x700x10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10x700x10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10x700x10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10x700x10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3780316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g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4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68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6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6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6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6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1707252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ressão sonora LPA.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(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8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9261790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otência acústica LW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(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4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4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4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4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3203888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mpacto da limpez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g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,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,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,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,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,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0095805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amanho do boca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°/#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47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47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7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7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7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7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47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3522404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mperatura máx. da água (quente/vapor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°C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4120434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mbustível Delta T 45 °C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g/h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8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8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8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8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8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6570824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e aqueciment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W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3834846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pósito de combustív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7156900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ipo de combustível da caldeir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431621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pósito de detergente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74059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38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BFC105-F4FB-5E6C-5AE6-7F9AB9D1B9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FC4B61E-C411-6AFE-80A2-1F30724760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Modelos da gama Advanced - especificações técnicas.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8A8EC66-6077-2BED-E422-44562E3434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55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9E604BC-C0A6-1960-62E4-5FEBD658FCB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CD93E64-5545-0E85-D803-D9A53F36946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3</a:t>
            </a:fld>
            <a:endParaRPr lang="pt-pt" noProof="0" dirty="0"/>
          </a:p>
        </p:txBody>
      </p:sp>
      <p:graphicFrame>
        <p:nvGraphicFramePr>
          <p:cNvPr id="9" name="Pladsholder til indhold 8">
            <a:extLst>
              <a:ext uri="{FF2B5EF4-FFF2-40B4-BE49-F238E27FC236}">
                <a16:creationId xmlns:a16="http://schemas.microsoft.com/office/drawing/2014/main" id="{00B92448-5767-EA05-5607-91EFF076E58D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400407322"/>
              </p:ext>
            </p:extLst>
          </p:nvPr>
        </p:nvGraphicFramePr>
        <p:xfrm>
          <a:off x="479425" y="1350236"/>
          <a:ext cx="11239200" cy="494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052000">
                  <a:extLst>
                    <a:ext uri="{9D8B030D-6E8A-4147-A177-3AD203B41FA5}">
                      <a16:colId xmlns:a16="http://schemas.microsoft.com/office/drawing/2014/main" val="2183510017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933127575"/>
                    </a:ext>
                  </a:extLst>
                </a:gridCol>
                <a:gridCol w="1429200">
                  <a:extLst>
                    <a:ext uri="{9D8B030D-6E8A-4147-A177-3AD203B41FA5}">
                      <a16:colId xmlns:a16="http://schemas.microsoft.com/office/drawing/2014/main" val="1172706971"/>
                    </a:ext>
                  </a:extLst>
                </a:gridCol>
                <a:gridCol w="1429200">
                  <a:extLst>
                    <a:ext uri="{9D8B030D-6E8A-4147-A177-3AD203B41FA5}">
                      <a16:colId xmlns:a16="http://schemas.microsoft.com/office/drawing/2014/main" val="1804881975"/>
                    </a:ext>
                  </a:extLst>
                </a:gridCol>
                <a:gridCol w="1429200">
                  <a:extLst>
                    <a:ext uri="{9D8B030D-6E8A-4147-A177-3AD203B41FA5}">
                      <a16:colId xmlns:a16="http://schemas.microsoft.com/office/drawing/2014/main" val="753635853"/>
                    </a:ext>
                  </a:extLst>
                </a:gridCol>
                <a:gridCol w="1429200">
                  <a:extLst>
                    <a:ext uri="{9D8B030D-6E8A-4147-A177-3AD203B41FA5}">
                      <a16:colId xmlns:a16="http://schemas.microsoft.com/office/drawing/2014/main" val="2961561199"/>
                    </a:ext>
                  </a:extLst>
                </a:gridCol>
                <a:gridCol w="1429200">
                  <a:extLst>
                    <a:ext uri="{9D8B030D-6E8A-4147-A177-3AD203B41FA5}">
                      <a16:colId xmlns:a16="http://schemas.microsoft.com/office/drawing/2014/main" val="2584571107"/>
                    </a:ext>
                  </a:extLst>
                </a:gridCol>
                <a:gridCol w="1429200">
                  <a:extLst>
                    <a:ext uri="{9D8B030D-6E8A-4147-A177-3AD203B41FA5}">
                      <a16:colId xmlns:a16="http://schemas.microsoft.com/office/drawing/2014/main" val="2524797807"/>
                    </a:ext>
                  </a:extLst>
                </a:gridCol>
              </a:tblGrid>
              <a:tr h="344621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odelo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0000" marR="0" marT="32400" marB="3240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 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32400" marB="32400" anchor="b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55M-100/760 PA 230/1/50 UK 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55M-100/760 PAX 230/1/50 UK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55M-220/1100 FA 400/3/50 EU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55M-220/1100 FAX 400/3/50 EU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55M-220/1100 PAX 400/3/50 EU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1" i="0" u="none" strike="noStrike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MH55M-220/1100 FAX 230-400/3/50 NO</a:t>
                      </a:r>
                      <a:endParaRPr lang="pt-pt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312663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úmero do artig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2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2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0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08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0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714712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8195909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ão de Alimentaçã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V/ph/Hz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30/1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30/1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0/3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0/3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0/3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0/3/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8500359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usív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25/C1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499806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ificação de potênci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W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,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,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,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,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3267355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ressão de trabalh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ar (MP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0971575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/h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8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8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7265945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máximo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/h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6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6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2278649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mperatura máxima de entrada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°C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1223817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ressão máxima de entrada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ar (MP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500944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ressão mínima de entrada de águ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ar (MP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3241979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CxLxA da embalagem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m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88x700x102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88x700x102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88x700x102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88x700x102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88x700x102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88x700x102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3780316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g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8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9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0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4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1707252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ressão sonora LPA.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(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3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7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9261790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otência acústica LW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(A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4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4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3203888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mpacto da limpez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g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1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,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,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,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,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0095805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amanho do boca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°/#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5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50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5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5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5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05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3522404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mperatura máx. da água (quente/vapor)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°C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/15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4120434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mbustível Delta T 45 °C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g/h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9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,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,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,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,6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6570824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e aquecimento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W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8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8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5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3834846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pósito de combustív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7156900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ipo de combustível da caldeira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esel/Biodiese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431621"/>
                  </a:ext>
                </a:extLst>
              </a:tr>
              <a:tr h="208134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pósito de detergente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2400" marB="32400" anchor="b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x10</a:t>
                      </a:r>
                      <a:endParaRPr lang="pt-pt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74059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802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Pladsholder til indhold 6">
            <a:extLst>
              <a:ext uri="{FF2B5EF4-FFF2-40B4-BE49-F238E27FC236}">
                <a16:creationId xmlns:a16="http://schemas.microsoft.com/office/drawing/2014/main" id="{D47BEE29-AF5C-8593-553A-7CE943ACA1A0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187872711"/>
              </p:ext>
            </p:extLst>
          </p:nvPr>
        </p:nvGraphicFramePr>
        <p:xfrm>
          <a:off x="480795" y="1403720"/>
          <a:ext cx="11232000" cy="487009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val="4077710396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348811325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658713099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317856389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3520540580"/>
                    </a:ext>
                  </a:extLst>
                </a:gridCol>
              </a:tblGrid>
              <a:tr h="25583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j-lt"/>
                          <a:cs typeface="+mj-lt"/>
                          <a:sym typeface=""/>
                        </a:rPr>
                        <a:t> </a:t>
                      </a:r>
                      <a:endParaRPr lang="pt-pt" sz="700" b="1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0800" marB="108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j-lt"/>
                          <a:cs typeface="+mj-lt"/>
                          <a:sym typeface=""/>
                        </a:rPr>
                        <a:t>MH35C-180/780 PAX </a:t>
                      </a:r>
                    </a:p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j-lt"/>
                          <a:cs typeface="+mj-lt"/>
                          <a:sym typeface=""/>
                        </a:rPr>
                        <a:t>230-400/3/50 NO </a:t>
                      </a:r>
                      <a:endParaRPr lang="pt-pt" sz="700" b="1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0800" marB="108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j-lt"/>
                          <a:cs typeface="+mj-lt"/>
                          <a:sym typeface=""/>
                        </a:rPr>
                        <a:t>MH35C-180/780 PAX </a:t>
                      </a:r>
                    </a:p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j-lt"/>
                          <a:cs typeface="+mj-lt"/>
                          <a:sym typeface=""/>
                        </a:rPr>
                        <a:t>400/3/50 EU </a:t>
                      </a:r>
                      <a:endParaRPr lang="pt-pt" sz="700" b="1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0800" marB="108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j-lt"/>
                          <a:cs typeface="+mj-lt"/>
                          <a:sym typeface=""/>
                        </a:rPr>
                        <a:t>MH35C-145/600 PA </a:t>
                      </a:r>
                    </a:p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j-lt"/>
                          <a:cs typeface="+mj-lt"/>
                          <a:sym typeface=""/>
                        </a:rPr>
                        <a:t>230/1/50 EU </a:t>
                      </a:r>
                      <a:endParaRPr lang="pt-pt" sz="700" b="1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0800" marB="108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j-lt"/>
                          <a:cs typeface="+mj-lt"/>
                          <a:sym typeface=""/>
                        </a:rPr>
                        <a:t>MH35C-145/600 PAX </a:t>
                      </a:r>
                    </a:p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j-lt"/>
                          <a:cs typeface="+mj-lt"/>
                          <a:sym typeface=""/>
                        </a:rPr>
                        <a:t>230/1/50 EU</a:t>
                      </a:r>
                      <a:endParaRPr lang="pt-pt" sz="700" b="1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0800" marB="108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203762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107147116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107147103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107147153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107147155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3515496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Caldeira com eficiência energétic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7319241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Caldeira EcoPower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1697347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Classificação de eficiência EUnited (%)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95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95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95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95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9438826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Material da cabeça da bomb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NA3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NA3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NA3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NA3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9326182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Material do pistã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Aço inoxidável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Aço inoxidável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Aço inoxidável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Aço inoxidável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8417144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Material da cabeça da bomb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Latã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Latã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Latã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Latã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794452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Arranque/paragem automátic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1587903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Enrolador de mangueir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5465191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Suporte da pistol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939652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Gancho girável e ajustável 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3998106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Suporte para duas lanças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8874333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Sensor de combustível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635162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Sensor de chama 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6010385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Sensor da temperatura do gás de escape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4065917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Câmara da caldeira em aço inoxidável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9501146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Visor LCD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6407787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Ligação Bluetooth para assistênci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1762899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Diagnóstico da máquina e resolução de problemas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490331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Armazenamento da lança e da pistola pulverizador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3159579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Monofásic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8427384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Trifásic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9894475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1450 rpm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6186094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Depósito de detergente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75950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Detergente intern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4582365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Indicador de serviç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089190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Sistema de detergente de alta pressã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1182454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Regulação da pressão da águ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959147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Depósito de segurança de águ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2486511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Transportável por empilhador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1640560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Visor de combustível 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2695642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Segurança de óleo da bomba baix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3645909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Baixo nível de águ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2815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Anti-pedr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1290889"/>
                  </a:ext>
                </a:extLst>
              </a:tr>
              <a:tr h="13183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Caixa de armazenament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7865998"/>
                  </a:ext>
                </a:extLst>
              </a:tr>
            </a:tbl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86F8216-969A-507C-5DAC-2BD253812C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Modelos da gama Advanced - característica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AB471BC-98BF-B7BD-9442-31095E5A0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35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F2C4187-7523-50D0-03B7-E4AFA7CCCD1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289CDF1-0BFC-9E45-7866-F9B8C6D11F7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4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300558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4422E8-BC4D-D00D-45C0-F0402DD272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Pladsholder til indhold 6">
            <a:extLst>
              <a:ext uri="{FF2B5EF4-FFF2-40B4-BE49-F238E27FC236}">
                <a16:creationId xmlns:a16="http://schemas.microsoft.com/office/drawing/2014/main" id="{3F19A9D1-0EEB-6647-89EC-43A094FB4997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523342510"/>
              </p:ext>
            </p:extLst>
          </p:nvPr>
        </p:nvGraphicFramePr>
        <p:xfrm>
          <a:off x="480795" y="1382554"/>
          <a:ext cx="11235600" cy="489125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val="4077710396"/>
                    </a:ext>
                  </a:extLst>
                </a:gridCol>
                <a:gridCol w="1234800">
                  <a:extLst>
                    <a:ext uri="{9D8B030D-6E8A-4147-A177-3AD203B41FA5}">
                      <a16:colId xmlns:a16="http://schemas.microsoft.com/office/drawing/2014/main" val="332438163"/>
                    </a:ext>
                  </a:extLst>
                </a:gridCol>
                <a:gridCol w="1234800">
                  <a:extLst>
                    <a:ext uri="{9D8B030D-6E8A-4147-A177-3AD203B41FA5}">
                      <a16:colId xmlns:a16="http://schemas.microsoft.com/office/drawing/2014/main" val="789653696"/>
                    </a:ext>
                  </a:extLst>
                </a:gridCol>
                <a:gridCol w="1234800">
                  <a:extLst>
                    <a:ext uri="{9D8B030D-6E8A-4147-A177-3AD203B41FA5}">
                      <a16:colId xmlns:a16="http://schemas.microsoft.com/office/drawing/2014/main" val="3844585882"/>
                    </a:ext>
                  </a:extLst>
                </a:gridCol>
                <a:gridCol w="1234800">
                  <a:extLst>
                    <a:ext uri="{9D8B030D-6E8A-4147-A177-3AD203B41FA5}">
                      <a16:colId xmlns:a16="http://schemas.microsoft.com/office/drawing/2014/main" val="348811325"/>
                    </a:ext>
                  </a:extLst>
                </a:gridCol>
                <a:gridCol w="1234800">
                  <a:extLst>
                    <a:ext uri="{9D8B030D-6E8A-4147-A177-3AD203B41FA5}">
                      <a16:colId xmlns:a16="http://schemas.microsoft.com/office/drawing/2014/main" val="2658713099"/>
                    </a:ext>
                  </a:extLst>
                </a:gridCol>
                <a:gridCol w="1234800">
                  <a:extLst>
                    <a:ext uri="{9D8B030D-6E8A-4147-A177-3AD203B41FA5}">
                      <a16:colId xmlns:a16="http://schemas.microsoft.com/office/drawing/2014/main" val="2317856389"/>
                    </a:ext>
                  </a:extLst>
                </a:gridCol>
                <a:gridCol w="1234800">
                  <a:extLst>
                    <a:ext uri="{9D8B030D-6E8A-4147-A177-3AD203B41FA5}">
                      <a16:colId xmlns:a16="http://schemas.microsoft.com/office/drawing/2014/main" val="3520540580"/>
                    </a:ext>
                  </a:extLst>
                </a:gridCol>
              </a:tblGrid>
              <a:tr h="27181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j-lt"/>
                          <a:cs typeface="+mj-lt"/>
                          <a:sym typeface=""/>
                        </a:rPr>
                        <a:t> </a:t>
                      </a:r>
                      <a:endParaRPr lang="pt-pt" sz="700" b="1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0800" marB="108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45M-100/680 PA </a:t>
                      </a:r>
                      <a:b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230/1/50 UK 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45M-100/680 PAX 230/1/50 UK 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45M-200/960 FA </a:t>
                      </a:r>
                      <a:b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230-400/3/50 NO 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45M-200/960 FA </a:t>
                      </a:r>
                      <a:b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400/3/50 EU 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45M-200/960 FAX </a:t>
                      </a:r>
                      <a:b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230-400/3/50 NO 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45M-200/960 FAX 400/3/50 EU 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45M-200/960 PAX 400/3/50 EU 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203762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107147123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107147124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107147117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107147104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107147118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10714710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107147106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3515496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Caldeira com eficiência energétic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7319241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Caldeira EcoPower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1697347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Classificação de eficiência EUnited (%)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9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9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96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96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96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96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96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9438826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Material da cabeça da bomb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9326182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Material do pistã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8417144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Material da cabeça da bomb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794452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Arranque/paragem automátic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1587903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Enrolador de mangueir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5465191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Suporte da pistol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939652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Gancho girável e ajustável 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3998106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Suporte para duas lanças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8874333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Sensor de combustível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635162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Sensor de chama 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6010385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Sensor da temperatura do gás de escape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4065917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Câmara da caldeira em aço inoxidável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9501146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Visor LCD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6407787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Ligação Bluetooth para assistênci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1762899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Diagnóstico da máquina e resolução de problemas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490331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Armazenamento da lança e da pistola pulverizador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3159579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Monofásic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8427384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Trifásic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9894475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1450 rpm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6186094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Depósito de detergente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75950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Detergente intern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4582365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Indicador de serviç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089190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Sistema de detergente de alta pressã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1182454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Regulação da pressão da águ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959147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Depósito de segurança de águ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2486511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Transportável por empilhador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1640560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Visor de combustível 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2695642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Segurança de óleo da bomba baix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3645909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Roboto Light" panose="02000000000000000000" pitchFamily="2" charset="0"/>
                          <a:sym typeface=""/>
                        </a:rPr>
                        <a:t>Baixo nível de águ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2815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Anti-pedr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1290889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sym typeface=""/>
                        </a:rPr>
                        <a:t>Caixa de armazenament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7865998"/>
                  </a:ext>
                </a:extLst>
              </a:tr>
            </a:tbl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F0B3E9C9-995D-73E0-6CD3-8B27486A16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Modelos da gama Advanced - característica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C427961-58BC-4CAF-6292-69A7A94BE7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45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24C8312-1A3E-FAE0-241C-0A69564DF08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41687F7-BD03-5D08-9AE2-59E700FF7B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5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64958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363DA-BCD8-7285-EFC3-D197460A73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Pladsholder til indhold 6">
            <a:extLst>
              <a:ext uri="{FF2B5EF4-FFF2-40B4-BE49-F238E27FC236}">
                <a16:creationId xmlns:a16="http://schemas.microsoft.com/office/drawing/2014/main" id="{5410761B-DA4E-380D-0C07-55BC73B8D007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61309795"/>
              </p:ext>
            </p:extLst>
          </p:nvPr>
        </p:nvGraphicFramePr>
        <p:xfrm>
          <a:off x="480795" y="1382556"/>
          <a:ext cx="11232000" cy="489125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val="4077710396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789653696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3844585882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348811325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658713099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317856389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3520540580"/>
                    </a:ext>
                  </a:extLst>
                </a:gridCol>
              </a:tblGrid>
              <a:tr h="27181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j-lt"/>
                          <a:cs typeface="+mj-lt"/>
                          <a:sym typeface=""/>
                        </a:rPr>
                        <a:t> </a:t>
                      </a:r>
                      <a:endParaRPr lang="pt-pt" sz="700" b="1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0800" marB="108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55M-100/760 PA </a:t>
                      </a:r>
                      <a:b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230/1/50 UK 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55M-100/760 PAX </a:t>
                      </a:r>
                      <a:b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230/1/50 UK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55M-220/1100 FA </a:t>
                      </a:r>
                      <a:b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400/3/50 EU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55M-220/1100 FAX </a:t>
                      </a:r>
                      <a:b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400/3/50 EU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55M-220/1100 PAX </a:t>
                      </a:r>
                      <a:b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400/3/50 EU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MH55M-220/1100 FAX </a:t>
                      </a:r>
                      <a:b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230-400/3/50 NO</a:t>
                      </a:r>
                    </a:p>
                  </a:txBody>
                  <a:tcPr marL="0" marR="0" marT="18000" marB="1800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203762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 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0714712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07147126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07147107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07147108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07147109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07147121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3515496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Caldeira com eficiência energétic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7319241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Caldeira EcoPower™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1697347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Classificação de eficiência EUnited (%)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4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4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9438826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Material da cabeça da bomb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9326182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Material do pistã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8417144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Material da cabeça da bomb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794452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Arranque/paragem automátic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1587903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Enrolador de mangueir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5465191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Suporte da pistol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939652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Gancho girável e ajustável 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3998106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Suporte para duas lanças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8874333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Sensor de combustível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635162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Sensor de chama 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6010385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Sensor da temperatura do gás de escape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4065917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Câmara da caldeira em aço inoxidável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9501146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Visor LCD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6407787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Ligação Bluetooth para assistênci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1762899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Diagnóstico da máquina e resolução de problemas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490331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Armazenamento da lança e da pistola pulverizador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3159579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Monofásic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8427384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Trifásic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9894475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1450 rpm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6186094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Depósito de detergente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75950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Detergente intern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4582365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Indicador de serviç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089190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Sistema de detergente de alta pressã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1182454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Regulação da pressão da águ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959147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Depósito de segurança de águ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2486511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Transportável por empilhador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1640560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Visor de combustível 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2695642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Segurança de óleo da bomba baix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3645909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Roboto Light" panose="02000000000000000000" pitchFamily="2" charset="0"/>
                          <a:sym typeface=""/>
                        </a:rPr>
                        <a:t>Baixo nível de águ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2815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lt"/>
                          <a:cs typeface="+mn-lt"/>
                          <a:sym typeface=""/>
                        </a:rPr>
                        <a:t>Anti-pedra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1290889"/>
                  </a:ext>
                </a:extLst>
              </a:tr>
              <a:tr h="13198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lt"/>
                          <a:cs typeface="+mn-lt"/>
                          <a:sym typeface=""/>
                        </a:rPr>
                        <a:t>Caixa de armazenamento</a:t>
                      </a:r>
                      <a:endParaRPr lang="pt-pt" sz="7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9000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7200" marB="72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7865998"/>
                  </a:ext>
                </a:extLst>
              </a:tr>
            </a:tbl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C131BD6-870A-60C7-AD15-073A39A5C9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Modelos da gama Advanced - característica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EE60856-05D6-02B2-03AE-3A791B791B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55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878C59B-B63B-6826-50B1-4CCC721029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5F70F1E-0B41-B57B-D7AA-AFA0D8413DA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6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135186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Pladsholder til indhold 6">
            <a:extLst>
              <a:ext uri="{FF2B5EF4-FFF2-40B4-BE49-F238E27FC236}">
                <a16:creationId xmlns:a16="http://schemas.microsoft.com/office/drawing/2014/main" id="{B7B46FBA-B017-937A-97E3-B9A8D7BC1190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29789231"/>
              </p:ext>
            </p:extLst>
          </p:nvPr>
        </p:nvGraphicFramePr>
        <p:xfrm>
          <a:off x="476890" y="1261890"/>
          <a:ext cx="11232000" cy="480369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160000">
                  <a:extLst>
                    <a:ext uri="{9D8B030D-6E8A-4147-A177-3AD203B41FA5}">
                      <a16:colId xmlns:a16="http://schemas.microsoft.com/office/drawing/2014/main" val="3112350542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82991330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2531555884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2901736403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3995114186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3377562025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3011567187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342029864"/>
                    </a:ext>
                  </a:extLst>
                </a:gridCol>
              </a:tblGrid>
              <a:tr h="391704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odelo</a:t>
                      </a:r>
                    </a:p>
                  </a:txBody>
                  <a:tcPr marL="9000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30C-180/780 PA 400/3/50 EU</a:t>
                      </a:r>
                    </a:p>
                  </a:txBody>
                  <a:tcPr marL="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0M-190/940 PA 400/3/50 EU</a:t>
                      </a:r>
                    </a:p>
                  </a:txBody>
                  <a:tcPr marL="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0M-100/750 PA 230/1/50 UK</a:t>
                      </a:r>
                    </a:p>
                  </a:txBody>
                  <a:tcPr marL="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30C-180/780 PA </a:t>
                      </a:r>
                      <a:br>
                        <a:rPr lang="pt-pt" sz="8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8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230-400/3/50 NO</a:t>
                      </a:r>
                    </a:p>
                  </a:txBody>
                  <a:tcPr marL="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0M-190/940 PA 230/3/50 NO</a:t>
                      </a:r>
                    </a:p>
                  </a:txBody>
                  <a:tcPr marL="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50M-220/1100 PA 400/3/50 EU</a:t>
                      </a:r>
                    </a:p>
                  </a:txBody>
                  <a:tcPr marL="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8287528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úmero do artigo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01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0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11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1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1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6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7182623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ensão de Alimentação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/ph/Hz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0/3/5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0/3/5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30/1/5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30-400/3/5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30/3/5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0/3/5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2005227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usível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1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16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1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16/C1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2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16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767277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lassificação de potência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W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,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,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,6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,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,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,9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66639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ressão de trabalho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r (MPa)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8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8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2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545832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luxo de água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h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2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8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6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3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8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5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580673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luxo máximo de água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h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8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4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5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8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4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6142919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emperatura máxima de entrada de água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°C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5052954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ressão máxima de entrada de água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r (MPa)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3504160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ressão mínima de entrada de água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r (MPa)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896545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imensões CxLxA da embalagem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0x700x1016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0x700x1016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0x700x1016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0x700x1016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0x700x1016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88x700x102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639017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eso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3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8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2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3585595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ível de pressão sonora LPA.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7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7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7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1873079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ível de potência acústica LWA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1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6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8207276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mpacto da limpeza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,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,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,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,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,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,6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463774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amanho do bocal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°/#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040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050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060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040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050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055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247340"/>
                  </a:ext>
                </a:extLst>
              </a:tr>
              <a:tr h="201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emperatura máx. da água (quente/vapor)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°C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1828358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nsumo de combustível Delta T 45 °C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g/h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,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,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,4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,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,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,7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3079564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pacidade de aquecimento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W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1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6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1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1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6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40132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epósito de combustível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0548793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ipo de combustível da caldeira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iesel/Biodiese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iesel/Biodiese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iesel/Biodiese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iesel/Biodiese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iesel/Biodiese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iesel/Biodiese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9534663"/>
                  </a:ext>
                </a:extLst>
              </a:tr>
              <a:tr h="20049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epósito de detergente</a:t>
                      </a:r>
                    </a:p>
                  </a:txBody>
                  <a:tcPr marL="9000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A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A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A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A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A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8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A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720545"/>
                  </a:ext>
                </a:extLst>
              </a:tr>
            </a:tbl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B3B6EFA-D4E5-34B0-4367-F42E60D516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Modelos da gama Standard - especificações técnicas.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ECF4FA7-DDBF-E08E-BCB5-C1A91FD1D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30-50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B5B001E-2E30-6597-1237-7D048276D5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C4AFF28-3522-66AA-9C67-BB03EF3264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7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21739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Pladsholder til indhold 6">
            <a:extLst>
              <a:ext uri="{FF2B5EF4-FFF2-40B4-BE49-F238E27FC236}">
                <a16:creationId xmlns:a16="http://schemas.microsoft.com/office/drawing/2014/main" id="{1E6D2371-EBF1-319B-E7ED-184BDB43E024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154482117"/>
              </p:ext>
            </p:extLst>
          </p:nvPr>
        </p:nvGraphicFramePr>
        <p:xfrm>
          <a:off x="482928" y="1300697"/>
          <a:ext cx="11231999" cy="520716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986667">
                  <a:extLst>
                    <a:ext uri="{9D8B030D-6E8A-4147-A177-3AD203B41FA5}">
                      <a16:colId xmlns:a16="http://schemas.microsoft.com/office/drawing/2014/main" val="2170945860"/>
                    </a:ext>
                  </a:extLst>
                </a:gridCol>
                <a:gridCol w="1483895">
                  <a:extLst>
                    <a:ext uri="{9D8B030D-6E8A-4147-A177-3AD203B41FA5}">
                      <a16:colId xmlns:a16="http://schemas.microsoft.com/office/drawing/2014/main" val="1236590917"/>
                    </a:ext>
                  </a:extLst>
                </a:gridCol>
                <a:gridCol w="1506284">
                  <a:extLst>
                    <a:ext uri="{9D8B030D-6E8A-4147-A177-3AD203B41FA5}">
                      <a16:colId xmlns:a16="http://schemas.microsoft.com/office/drawing/2014/main" val="920725393"/>
                    </a:ext>
                  </a:extLst>
                </a:gridCol>
                <a:gridCol w="1483895">
                  <a:extLst>
                    <a:ext uri="{9D8B030D-6E8A-4147-A177-3AD203B41FA5}">
                      <a16:colId xmlns:a16="http://schemas.microsoft.com/office/drawing/2014/main" val="2399655989"/>
                    </a:ext>
                  </a:extLst>
                </a:gridCol>
                <a:gridCol w="1701695">
                  <a:extLst>
                    <a:ext uri="{9D8B030D-6E8A-4147-A177-3AD203B41FA5}">
                      <a16:colId xmlns:a16="http://schemas.microsoft.com/office/drawing/2014/main" val="2062428004"/>
                    </a:ext>
                  </a:extLst>
                </a:gridCol>
                <a:gridCol w="1522568">
                  <a:extLst>
                    <a:ext uri="{9D8B030D-6E8A-4147-A177-3AD203B41FA5}">
                      <a16:colId xmlns:a16="http://schemas.microsoft.com/office/drawing/2014/main" val="2297521660"/>
                    </a:ext>
                  </a:extLst>
                </a:gridCol>
                <a:gridCol w="1546995">
                  <a:extLst>
                    <a:ext uri="{9D8B030D-6E8A-4147-A177-3AD203B41FA5}">
                      <a16:colId xmlns:a16="http://schemas.microsoft.com/office/drawing/2014/main" val="2855622807"/>
                    </a:ext>
                  </a:extLst>
                </a:gridCol>
              </a:tblGrid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30C-180/780 PA 400/3/50 EU</a:t>
                      </a:r>
                    </a:p>
                  </a:txBody>
                  <a:tcPr marL="0" marR="0" marT="18000" marB="18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0M-190/940 PA 400/3/50 EU</a:t>
                      </a:r>
                    </a:p>
                  </a:txBody>
                  <a:tcPr marL="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0M-100/750 PA 230/1/50 UK</a:t>
                      </a:r>
                    </a:p>
                  </a:txBody>
                  <a:tcPr marL="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30C-180/780 PA 230-400/3/50 NO</a:t>
                      </a:r>
                    </a:p>
                  </a:txBody>
                  <a:tcPr marL="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0M-190/940 PA 230/3/50 NO</a:t>
                      </a:r>
                    </a:p>
                  </a:txBody>
                  <a:tcPr marL="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50M-220/1100 PA 400/3/50 EU</a:t>
                      </a:r>
                    </a:p>
                  </a:txBody>
                  <a:tcPr marL="0" marR="0" marT="18000" marB="18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1245612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07147101</a:t>
                      </a:r>
                    </a:p>
                  </a:txBody>
                  <a:tcPr marL="0" marR="0" marT="18000" marB="18000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0714710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07147111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07147112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0714711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0714716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9168440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aldeira EcoPower™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5088782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lassificação de eficiência EUnited (%)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4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4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4613598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Material da cabeça da bomba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A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A3 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3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A5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9763264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Material do pistão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Aço inoxidáve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Aço inoxidáve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erâmica integral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6901450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Material da cabeça da bomba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atão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378361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Arranque/paragem automática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1690082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Enrolador de mangueira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5609309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Suporte da pistola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9549702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Gancho girável e ajustável 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2201312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Suporte para duas lanças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988803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Sensor de combustível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9680934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Sensor de chama 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1790959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Sensor da temperatura do gás de escape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 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6555343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âmara da caldeira em aço inoxidável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4102245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Visor LCD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3128765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igação Bluetooth para assistência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7672488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Diagnóstico da máquina e resolução de problemas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6271905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Armazenamento da lança e da pistola pulverizadora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132749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Monofásico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3538599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Trifásico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3931466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450 rpm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895461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Depósito de detergente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5203611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Detergente interno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9584978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Indicador de serviço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7921852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Sistema de detergente de alta pressão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7120095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Regulação da pressão da água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1309714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Depósito de segurança de água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7346524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Transportável por empilhador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2822207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Visor de combustível 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4857299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Segurança de óleo da bomba baixo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4351157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Baixo nível de água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7419629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Anti-pedra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0719789"/>
                  </a:ext>
                </a:extLst>
              </a:tr>
              <a:tr h="14082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aixa de armazenamento</a:t>
                      </a:r>
                    </a:p>
                  </a:txBody>
                  <a:tcPr marL="90000" marR="9000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7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•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4572337"/>
                  </a:ext>
                </a:extLst>
              </a:tr>
            </a:tbl>
          </a:graphicData>
        </a:graphic>
      </p:graphicFrame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D20725B-4C7A-DBAE-EAAF-9104262049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8A775D5-DE6F-335B-45A6-278AC45D535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8</a:t>
            </a:fld>
            <a:endParaRPr lang="pt-pt" noProof="0" dirty="0"/>
          </a:p>
        </p:txBody>
      </p:sp>
      <p:sp>
        <p:nvSpPr>
          <p:cNvPr id="2" name="Pladsholder til tekst 2">
            <a:extLst>
              <a:ext uri="{FF2B5EF4-FFF2-40B4-BE49-F238E27FC236}">
                <a16:creationId xmlns:a16="http://schemas.microsoft.com/office/drawing/2014/main" id="{A03076AF-7A66-1E77-E5B5-4B250D3B4FE7}"/>
              </a:ext>
            </a:extLst>
          </p:cNvPr>
          <p:cNvSpPr txBox="1">
            <a:spLocks/>
          </p:cNvSpPr>
          <p:nvPr/>
        </p:nvSpPr>
        <p:spPr>
          <a:xfrm>
            <a:off x="475521" y="873877"/>
            <a:ext cx="11235102" cy="376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Modelos da gama Standard - características </a:t>
            </a:r>
          </a:p>
        </p:txBody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3B445F8E-3BFB-E60C-5A3D-F9D6BCB0F1EF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pt-pt" b="1" i="0" u="none" baseline="0"/>
              <a:t>MH30-50</a:t>
            </a:r>
          </a:p>
        </p:txBody>
      </p:sp>
    </p:spTree>
    <p:extLst>
      <p:ext uri="{BB962C8B-B14F-4D97-AF65-F5344CB8AC3E}">
        <p14:creationId xmlns:p14="http://schemas.microsoft.com/office/powerpoint/2010/main" val="257542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0F0854-8200-5D3F-C97E-31FD1C480B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-83762"/>
            <a:ext cx="12191999" cy="6283325"/>
          </a:xfrm>
        </p:spPr>
        <p:txBody>
          <a:bodyPr/>
          <a:lstStyle/>
          <a:p>
            <a:pPr algn="l" rtl="0"/>
            <a:r>
              <a:rPr lang="pt-pt" b="1" i="0" u="none" baseline="0" dirty="0"/>
              <a:t>10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B2FD78-BC3E-F2AD-5F46-1BE94F7F85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PAC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AAF5FA-0373-B035-0F6A-069BB1A5D3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8CF1E1-D0CA-B658-7C7C-02D9119E53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9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43746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70D34-4E24-D134-9CA4-767388B114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D06C49-D125-91FB-C810-124BCBE6A0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Marca e design</a:t>
            </a:r>
          </a:p>
          <a:p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47F623-4BC1-E7F5-DBC7-453BF048C7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5DFE04-FC88-67E4-C2E5-AEA0B67EAC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5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131719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Pladsholder til indhold 6">
            <a:extLst>
              <a:ext uri="{FF2B5EF4-FFF2-40B4-BE49-F238E27FC236}">
                <a16:creationId xmlns:a16="http://schemas.microsoft.com/office/drawing/2014/main" id="{3233DD26-7880-BA79-B9F3-5043D384DC4F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413386764"/>
              </p:ext>
            </p:extLst>
          </p:nvPr>
        </p:nvGraphicFramePr>
        <p:xfrm>
          <a:off x="480792" y="1417031"/>
          <a:ext cx="11232000" cy="476128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val="2562612543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963247841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4085944942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116803219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786019681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550236252"/>
                    </a:ext>
                  </a:extLst>
                </a:gridCol>
              </a:tblGrid>
              <a:tr h="41608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Descrição</a:t>
                      </a:r>
                    </a:p>
                  </a:txBody>
                  <a:tcPr marL="72000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35C-180/780 PAX 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230-400/3/50 NO 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35C-180/780 PAX 400/3/50 EU 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35C-145/600 PA 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230/1/50 EU 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35C-145/600 PAX 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230/1/50 EU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282818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úmero do artigo</a:t>
                      </a:r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16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03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53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5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3996158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rgo 2000 standard com articulação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57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80295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6X10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6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9172954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6X15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0751836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8X10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3414775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8X15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6133368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8X20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229605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ança Tornado 100 c/ boca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8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2310738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ança Tornado 112 c/ bocal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79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1557745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nrolador de mangueira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80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4498964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34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3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9953519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4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38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3520493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47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115000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0373749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5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41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7462684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55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4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482053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iltro de entrada de água  5000 mm</a:t>
                      </a:r>
                      <a:r>
                        <a:rPr lang="pt-pt" sz="950" b="0" i="0" u="none" strike="noStrike" kern="1200" cap="none" spc="0" normalizeH="0" baseline="3000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</a:t>
                      </a: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50µ MH Azu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370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1682633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   Acoplamento para entrada </a:t>
                      </a:r>
                    </a:p>
                  </a:txBody>
                  <a:tcPr marL="9144" marR="9144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61369</a:t>
                      </a:r>
                    </a:p>
                  </a:txBody>
                  <a:tcPr marL="9144" marR="9144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8122151"/>
                  </a:ext>
                </a:extLst>
              </a:tr>
            </a:tbl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FC33920-AF26-6288-0D83-5645ECD168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cessórios Standard incluídos 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CF8ED2B-8DAE-7B2F-B85D-03D065CB1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35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5DCC9BE-52A6-13C6-2A52-75C8E6B44BD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BE1A509-8DE8-FB87-6B40-707C57C7440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50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4259025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4CE2E4-47B1-39DB-F520-9FD692F1CE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Pladsholder til indhold 6">
            <a:extLst>
              <a:ext uri="{FF2B5EF4-FFF2-40B4-BE49-F238E27FC236}">
                <a16:creationId xmlns:a16="http://schemas.microsoft.com/office/drawing/2014/main" id="{6655DFB9-67E1-3D74-0129-2545F7073B85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156820119"/>
              </p:ext>
            </p:extLst>
          </p:nvPr>
        </p:nvGraphicFramePr>
        <p:xfrm>
          <a:off x="480792" y="1412875"/>
          <a:ext cx="11232000" cy="485154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val="2562612543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963247841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82507331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839077348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23698052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180210459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39324487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359044262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75029464"/>
                    </a:ext>
                  </a:extLst>
                </a:gridCol>
              </a:tblGrid>
              <a:tr h="463577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Descrição</a:t>
                      </a:r>
                    </a:p>
                  </a:txBody>
                  <a:tcPr marL="72000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5M-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100/680 PA 230/1/50 UK 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5M-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100/680 PAX 230/1/50 UK 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5M-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200/960 FA 230-400/3/50 NO 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5M-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200/960 FA 400/3/50 EU 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5M-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200/960 FAX 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230-400/3/50 NO 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5M-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200/960 FAX 400/3/50 EU 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5M-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200/960 PAX 400/3/50 EU 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282818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úmero do artigo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23</a:t>
                      </a:r>
                    </a:p>
                  </a:txBody>
                  <a:tcPr marL="0" marR="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24</a:t>
                      </a:r>
                    </a:p>
                  </a:txBody>
                  <a:tcPr marL="0" marR="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17</a:t>
                      </a:r>
                    </a:p>
                  </a:txBody>
                  <a:tcPr marL="0" marR="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04</a:t>
                      </a:r>
                    </a:p>
                  </a:txBody>
                  <a:tcPr marL="0" marR="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18</a:t>
                      </a:r>
                    </a:p>
                  </a:txBody>
                  <a:tcPr marL="0" marR="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05</a:t>
                      </a:r>
                    </a:p>
                  </a:txBody>
                  <a:tcPr marL="0" marR="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06</a:t>
                      </a:r>
                    </a:p>
                  </a:txBody>
                  <a:tcPr marL="0" marR="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3996158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rgo 2000 standard com articulação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57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80295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6X10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6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9172954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6X15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0751836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8X10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3414775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8X15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6133368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8X20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229605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ança Tornado 100 c/ boca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8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2310738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ança Tornado 112 c/ bocal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79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1557745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nrolador de mangueira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80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4498964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34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3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9953519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4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38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3520493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47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115000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0373749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5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41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7462684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55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4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482053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iltro de entrada de água  5000 mm</a:t>
                      </a:r>
                      <a:r>
                        <a:rPr lang="pt-pt" sz="950" b="0" i="0" u="none" strike="noStrike" kern="1200" cap="none" spc="0" normalizeH="0" baseline="3000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</a:t>
                      </a: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50µ MH Azu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370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1682633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Acoplamento para entrada </a:t>
                      </a:r>
                    </a:p>
                  </a:txBody>
                  <a:tcPr marL="90000" marR="9144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61369</a:t>
                      </a:r>
                    </a:p>
                  </a:txBody>
                  <a:tcPr marL="90000" marR="9144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8122151"/>
                  </a:ext>
                </a:extLst>
              </a:tr>
            </a:tbl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CEC7100-5EB7-0CD4-ED61-6A4E89E559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cessórios Standard incluídos 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96DB19-B30A-681E-C8A5-5EDC2106D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45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F17205D-F2F9-BDB7-D5A1-D42F7538523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B4BD703-5048-1C33-D38B-7928D920DB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51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66854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B65BED-297A-7499-91DF-E4755C76A5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Pladsholder til indhold 6">
            <a:extLst>
              <a:ext uri="{FF2B5EF4-FFF2-40B4-BE49-F238E27FC236}">
                <a16:creationId xmlns:a16="http://schemas.microsoft.com/office/drawing/2014/main" id="{35CB429C-12C3-27BA-5245-7F3F2B23DE1C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934655822"/>
              </p:ext>
            </p:extLst>
          </p:nvPr>
        </p:nvGraphicFramePr>
        <p:xfrm>
          <a:off x="480792" y="1417031"/>
          <a:ext cx="11232000" cy="476128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val="256261254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963247841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1073290247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3097854630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3802479974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419316242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3549957435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3185981656"/>
                    </a:ext>
                  </a:extLst>
                </a:gridCol>
              </a:tblGrid>
              <a:tr h="41608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Descrição</a:t>
                      </a:r>
                    </a:p>
                  </a:txBody>
                  <a:tcPr marL="72000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55M-100/760 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PA 230/1/50 UK 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55M-100/760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PAX 230/1/50 UK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55M-220/1100 FA 400/3/50 EU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55M-220/1100 FAX 400/3/50 EU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55M-220/1100 PAX 400/3/50 EU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55M-220/1100 </a:t>
                      </a:r>
                      <a:b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5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FAX 230-400/3/50 NO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282818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úmero do artigo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2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26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07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08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09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107147121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3996158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rgo 2000 standard com articulação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57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80295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6X10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6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9172954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6X15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0751836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8X10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3414775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8X15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6133368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8X20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000000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229605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ança Tornado 100 c/ boca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8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2310738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ança Tornado 112 c/ bocal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79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000000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1557745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nrolador de mangueira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80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000000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4498964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34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3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9953519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4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38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3520493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47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115000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0373749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5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41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7462684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55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4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000000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482053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iltro de entrada de água  5000 mm</a:t>
                      </a:r>
                      <a:r>
                        <a:rPr lang="pt-pt" sz="950" b="0" i="0" u="none" strike="noStrike" kern="1200" cap="none" spc="0" normalizeH="0" baseline="3000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</a:t>
                      </a: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50µ MH Azu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370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000000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1682633"/>
                  </a:ext>
                </a:extLst>
              </a:tr>
              <a:tr h="255600">
                <a:tc>
                  <a:txBody>
                    <a:bodyPr/>
                    <a:lstStyle/>
                    <a:p>
                      <a:pPr marL="0" marR="0" lvl="0" indent="0" algn="l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Acoplamento para entrada </a:t>
                      </a:r>
                    </a:p>
                  </a:txBody>
                  <a:tcPr marL="90000" marR="9144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5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61369</a:t>
                      </a:r>
                    </a:p>
                  </a:txBody>
                  <a:tcPr marL="90000" marR="9144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95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950" b="1" i="0" u="none" strike="noStrike" kern="1200" cap="none" spc="0" normalizeH="0" baseline="0" noProof="0" dirty="0">
                        <a:solidFill>
                          <a:srgbClr val="38AFD9">
                            <a:lumMod val="100000"/>
                          </a:srgbClr>
                        </a:solidFill>
                        <a:effectLst/>
                        <a:latin typeface="Segoe MDL2 Assets" panose="050A0102010101010101" pitchFamily="18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8122151"/>
                  </a:ext>
                </a:extLst>
              </a:tr>
            </a:tbl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CD8A87F-1F10-A572-76A9-682A8957D2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cessórios Standard incluídos 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947A105-1D4C-5790-1615-A37759AA5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55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33F39B7-A11E-E3DA-1DAC-786663352B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7999A7C-5F52-7738-77D6-568175935F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52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257373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F71EF-834B-F311-2B42-B57D6B73B7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Pladsholder til indhold 6">
            <a:extLst>
              <a:ext uri="{FF2B5EF4-FFF2-40B4-BE49-F238E27FC236}">
                <a16:creationId xmlns:a16="http://schemas.microsoft.com/office/drawing/2014/main" id="{D3B3CCB1-3466-9E7A-8EB7-D15CE0CFCA0E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070913529"/>
              </p:ext>
            </p:extLst>
          </p:nvPr>
        </p:nvGraphicFramePr>
        <p:xfrm>
          <a:off x="480794" y="1412875"/>
          <a:ext cx="11232001" cy="487809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242279">
                  <a:extLst>
                    <a:ext uri="{9D8B030D-6E8A-4147-A177-3AD203B41FA5}">
                      <a16:colId xmlns:a16="http://schemas.microsoft.com/office/drawing/2014/main" val="3164711004"/>
                    </a:ext>
                  </a:extLst>
                </a:gridCol>
                <a:gridCol w="921638">
                  <a:extLst>
                    <a:ext uri="{9D8B030D-6E8A-4147-A177-3AD203B41FA5}">
                      <a16:colId xmlns:a16="http://schemas.microsoft.com/office/drawing/2014/main" val="3783390597"/>
                    </a:ext>
                  </a:extLst>
                </a:gridCol>
                <a:gridCol w="1298162">
                  <a:extLst>
                    <a:ext uri="{9D8B030D-6E8A-4147-A177-3AD203B41FA5}">
                      <a16:colId xmlns:a16="http://schemas.microsoft.com/office/drawing/2014/main" val="3323522801"/>
                    </a:ext>
                  </a:extLst>
                </a:gridCol>
                <a:gridCol w="1303780">
                  <a:extLst>
                    <a:ext uri="{9D8B030D-6E8A-4147-A177-3AD203B41FA5}">
                      <a16:colId xmlns:a16="http://schemas.microsoft.com/office/drawing/2014/main" val="3573528091"/>
                    </a:ext>
                  </a:extLst>
                </a:gridCol>
                <a:gridCol w="1298162">
                  <a:extLst>
                    <a:ext uri="{9D8B030D-6E8A-4147-A177-3AD203B41FA5}">
                      <a16:colId xmlns:a16="http://schemas.microsoft.com/office/drawing/2014/main" val="1361690475"/>
                    </a:ext>
                  </a:extLst>
                </a:gridCol>
                <a:gridCol w="1506092">
                  <a:extLst>
                    <a:ext uri="{9D8B030D-6E8A-4147-A177-3AD203B41FA5}">
                      <a16:colId xmlns:a16="http://schemas.microsoft.com/office/drawing/2014/main" val="2187509709"/>
                    </a:ext>
                  </a:extLst>
                </a:gridCol>
                <a:gridCol w="1320641">
                  <a:extLst>
                    <a:ext uri="{9D8B030D-6E8A-4147-A177-3AD203B41FA5}">
                      <a16:colId xmlns:a16="http://schemas.microsoft.com/office/drawing/2014/main" val="678240650"/>
                    </a:ext>
                  </a:extLst>
                </a:gridCol>
                <a:gridCol w="1341247">
                  <a:extLst>
                    <a:ext uri="{9D8B030D-6E8A-4147-A177-3AD203B41FA5}">
                      <a16:colId xmlns:a16="http://schemas.microsoft.com/office/drawing/2014/main" val="2621582428"/>
                    </a:ext>
                  </a:extLst>
                </a:gridCol>
              </a:tblGrid>
              <a:tr h="400883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Descrição</a:t>
                      </a:r>
                    </a:p>
                  </a:txBody>
                  <a:tcPr marL="72000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30C-180/780 PA 400/3/50 EU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0M-190/940 PA 400/3/50 EU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0M-100/750 PA 230/1/50 UK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30C-180/780 PA 230-400/3/50 NO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40M-190/940 PA 230/3/50 NO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H50M-220/1100 PA 400/3/50 EU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7162071"/>
                  </a:ext>
                </a:extLst>
              </a:tr>
              <a:tr h="255011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úmero do artigo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01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02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11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12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7113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10714716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1365850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rgo 2000 standard com articulação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 106404757</a:t>
                      </a:r>
                    </a:p>
                  </a:txBody>
                  <a:tcPr marL="9144" marR="9144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9199196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000000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6X10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 106404766</a:t>
                      </a:r>
                    </a:p>
                  </a:txBody>
                  <a:tcPr marL="9144" marR="9144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38AFD9">
                              <a:lumMod val="100000"/>
                            </a:srgbClr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000000"/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5873125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6X15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000000"/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8329495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8X10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3354615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8X15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000000"/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5088906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P HOSE DN8X20M AGR-Q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6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000000"/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7646425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ança universal 94 c/ boca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9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000000"/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9350311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ança universal 108 c/ boca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04789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7122176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4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38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000000"/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6271129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5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41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000000"/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9026472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55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4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4603034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06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111974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rgbClr val="000000"/>
                          </a:solidFill>
                          <a:effectLst/>
                          <a:latin typeface="Segoe MDL2 Assets" panose="050A0102010101010101" pitchFamily="18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3456208"/>
                  </a:ext>
                </a:extLst>
              </a:tr>
              <a:tr h="420018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iltro de entrada de água  5000 mm</a:t>
                      </a:r>
                      <a:r>
                        <a:rPr lang="pt-pt" sz="1100" b="0" i="0" u="none" strike="noStrike" kern="1200" cap="none" spc="0" normalizeH="0" baseline="3000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</a:t>
                      </a: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50µ MH Azu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14370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0868267"/>
                  </a:ext>
                </a:extLst>
              </a:tr>
              <a:tr h="291155">
                <a:tc>
                  <a:txBody>
                    <a:bodyPr/>
                    <a:lstStyle/>
                    <a:p>
                      <a:pPr marL="0" marR="0" lvl="0" indent="0" algn="l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Acoplamento para entrada </a:t>
                      </a:r>
                    </a:p>
                  </a:txBody>
                  <a:tcPr marL="90000" marR="9144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  <a:sym typeface=""/>
                        </a:rPr>
                        <a:t>61369</a:t>
                      </a:r>
                    </a:p>
                  </a:txBody>
                  <a:tcPr marL="9144" marR="9144" marT="9144" marB="9144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pt-pt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pt-pt" sz="1100" b="1" i="0" u="none" strike="noStrike" kern="1200" cap="none" spc="0" normalizeH="0" baseline="0" noProof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3008616"/>
                  </a:ext>
                </a:extLst>
              </a:tr>
            </a:tbl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F45FFFC-DBB3-E260-6210-CC53E26F5F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cessórios Standard incluídos </a:t>
            </a:r>
          </a:p>
          <a:p>
            <a:endParaRPr lang="pt-pt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9D0BA16-BBF5-AA2F-881B-1EA362CA91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H30-50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67F572D-AB24-8754-91AD-FB92DA46DDA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5ED1406-B3C3-12CD-4E1F-EBD5440BB0E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53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315991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72AB66-6D3A-2D97-84DC-FA279EE63E4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846301-A796-D795-73A9-738F534A1D7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54</a:t>
            </a:fld>
            <a:endParaRPr lang="pt-pt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FD0DF5-890F-4F61-92E8-7508BC97ED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Embalagem de acessórios atualizada e cores a condizer com as máquinas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0114CD6-D4EC-A715-338E-15517B182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PAC 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682CE16B-92D3-8027-D46D-5B5432E6FCE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42" b="3873"/>
          <a:stretch>
            <a:fillRect/>
          </a:stretch>
        </p:blipFill>
        <p:spPr>
          <a:xfrm>
            <a:off x="5354128" y="1962081"/>
            <a:ext cx="3204192" cy="2330633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87783D72-F576-6601-912D-429B3167CB5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74"/>
          <a:stretch>
            <a:fillRect/>
          </a:stretch>
        </p:blipFill>
        <p:spPr>
          <a:xfrm>
            <a:off x="1139409" y="4752722"/>
            <a:ext cx="8930768" cy="571580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DBBBC47E-E479-0CC0-D565-F35A9D0626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7570" y="1958629"/>
            <a:ext cx="2778353" cy="1845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087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6BE404D-ED15-E430-22F2-DB4720F2FF75}"/>
              </a:ext>
            </a:extLst>
          </p:cNvPr>
          <p:cNvSpPr txBox="1">
            <a:spLocks/>
          </p:cNvSpPr>
          <p:nvPr/>
        </p:nvSpPr>
        <p:spPr>
          <a:xfrm>
            <a:off x="7934325" y="0"/>
            <a:ext cx="4257674" cy="6283325"/>
          </a:xfrm>
          <a:prstGeom prst="rect">
            <a:avLst/>
          </a:prstGeom>
          <a:solidFill>
            <a:srgbClr val="EEEFF1"/>
          </a:solidFill>
        </p:spPr>
        <p:txBody>
          <a:bodyPr lIns="457200" tIns="2377440" rIns="457200" bIns="365760" anchor="t" anchorCtr="0"/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endParaRPr lang="pt-pt" noProof="0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6DFC7CC-3F4A-4013-910A-57B6B994CE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6DFC7CC-3F4A-4013-910A-57B6B994CE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F8C585-E863-4938-A665-AACF6519401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F289BF-9F49-45C1-B48A-411B243CFE0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6</a:t>
            </a:fld>
            <a:endParaRPr lang="pt-pt" noProof="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0C04EF-C2B9-BA88-B625-A9A29BABB670}"/>
              </a:ext>
            </a:extLst>
          </p:cNvPr>
          <p:cNvSpPr txBox="1"/>
          <p:nvPr/>
        </p:nvSpPr>
        <p:spPr>
          <a:xfrm>
            <a:off x="478800" y="1403908"/>
            <a:ext cx="6862264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A nova paleta profissional CMF foi amplamente investigada, desenvolvida e testada para permitir uma maior utilização de plásticos não  virgens e reciclados* (para cumprir as nossas metas de RSC), ao mesmo tempo que apoia a facilidade de utilização intuitiva. 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EF204BC-B1EC-741A-6336-8212442C566E}"/>
              </a:ext>
            </a:extLst>
          </p:cNvPr>
          <p:cNvGrpSpPr/>
          <p:nvPr/>
        </p:nvGrpSpPr>
        <p:grpSpPr>
          <a:xfrm>
            <a:off x="383411" y="2322203"/>
            <a:ext cx="6388959" cy="3947967"/>
            <a:chOff x="5929543" y="2157406"/>
            <a:chExt cx="7253212" cy="448201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6ADDE98-57E2-18BB-1497-91E0492D694F}"/>
                </a:ext>
              </a:extLst>
            </p:cNvPr>
            <p:cNvSpPr/>
            <p:nvPr/>
          </p:nvSpPr>
          <p:spPr>
            <a:xfrm>
              <a:off x="10106256" y="2157406"/>
              <a:ext cx="3076499" cy="1065319"/>
            </a:xfrm>
            <a:prstGeom prst="rect">
              <a:avLst/>
            </a:prstGeom>
            <a:solidFill>
              <a:srgbClr val="3A45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AD2F72C-F11C-D2DB-0672-32CECC56EEE7}"/>
                </a:ext>
              </a:extLst>
            </p:cNvPr>
            <p:cNvSpPr/>
            <p:nvPr/>
          </p:nvSpPr>
          <p:spPr>
            <a:xfrm>
              <a:off x="10096185" y="5574104"/>
              <a:ext cx="3076499" cy="1065319"/>
            </a:xfrm>
            <a:prstGeom prst="rect">
              <a:avLst/>
            </a:prstGeom>
            <a:solidFill>
              <a:srgbClr val="F473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0449AD1-A385-1182-0BDA-534205F8E1B1}"/>
                </a:ext>
              </a:extLst>
            </p:cNvPr>
            <p:cNvSpPr/>
            <p:nvPr/>
          </p:nvSpPr>
          <p:spPr>
            <a:xfrm>
              <a:off x="10106255" y="4433584"/>
              <a:ext cx="3066430" cy="1065319"/>
            </a:xfrm>
            <a:prstGeom prst="rect">
              <a:avLst/>
            </a:prstGeom>
            <a:solidFill>
              <a:srgbClr val="5FC6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3496403-F379-CA5D-D3A9-A852BB3C6E96}"/>
                </a:ext>
              </a:extLst>
            </p:cNvPr>
            <p:cNvSpPr/>
            <p:nvPr/>
          </p:nvSpPr>
          <p:spPr>
            <a:xfrm>
              <a:off x="10106255" y="3293065"/>
              <a:ext cx="3066431" cy="1065319"/>
            </a:xfrm>
            <a:prstGeom prst="rect">
              <a:avLst/>
            </a:prstGeom>
            <a:solidFill>
              <a:srgbClr val="6194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F4BEA95-01B9-7F28-BD11-7A3D20F862E5}"/>
                </a:ext>
              </a:extLst>
            </p:cNvPr>
            <p:cNvSpPr txBox="1"/>
            <p:nvPr/>
          </p:nvSpPr>
          <p:spPr>
            <a:xfrm>
              <a:off x="5929543" y="2183552"/>
              <a:ext cx="3566534" cy="7337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0" i="0" u="none" strike="noStrike" kern="1200" cap="none" spc="0" normalizeH="0" baseline="0" dirty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Bold" panose="02000000000000000000" pitchFamily="2" charset="0"/>
                  <a:ea typeface="Roboto Bold" panose="02000000000000000000" pitchFamily="2" charset="0"/>
                  <a:cs typeface="Roboto Bold" panose="02000000000000000000" pitchFamily="2" charset="0"/>
                </a:rPr>
                <a:t>Cor do corpo do produto primário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0" i="0" u="none" strike="noStrike" kern="1200" cap="none" spc="0" normalizeH="0" baseline="0" dirty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Esta é a cor do produto principal a utilizar em todas as peças principais.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E5D1189-CC5A-FC74-4D8D-58FA6DDD4A52}"/>
                </a:ext>
              </a:extLst>
            </p:cNvPr>
            <p:cNvSpPr txBox="1"/>
            <p:nvPr/>
          </p:nvSpPr>
          <p:spPr>
            <a:xfrm>
              <a:off x="5929544" y="4378558"/>
              <a:ext cx="3780491" cy="9434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0" i="0" u="none" strike="noStrike" kern="1200" cap="none" spc="0" normalizeH="0" baseline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Bold" panose="02000000000000000000" pitchFamily="2" charset="0"/>
                  <a:ea typeface="Roboto Bold" panose="02000000000000000000" pitchFamily="2" charset="0"/>
                  <a:cs typeface="Roboto Bold" panose="02000000000000000000" pitchFamily="2" charset="0"/>
                </a:rPr>
                <a:t>Cor operacional do ponto de contacto do utilizado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0" i="0" u="none" strike="noStrike" kern="1200" cap="none" spc="0" normalizeH="0" baseline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Interruptores, botões, tampas, pegas. Qualquer peça desta cor tem de interagir para o funcionamento eficaz da máquina.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49396B4-2460-8451-2FB7-4D89FFDDD71C}"/>
                </a:ext>
              </a:extLst>
            </p:cNvPr>
            <p:cNvSpPr txBox="1"/>
            <p:nvPr/>
          </p:nvSpPr>
          <p:spPr>
            <a:xfrm>
              <a:off x="5929543" y="3281055"/>
              <a:ext cx="3780492" cy="7337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0" i="0" u="none" strike="noStrike" kern="1200" cap="none" spc="0" normalizeH="0" baseline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Bold" panose="02000000000000000000" pitchFamily="2" charset="0"/>
                  <a:ea typeface="Roboto Bold" panose="02000000000000000000" pitchFamily="2" charset="0"/>
                  <a:cs typeface="Roboto Bold" panose="02000000000000000000" pitchFamily="2" charset="0"/>
                </a:rPr>
                <a:t>Cor relativa à ergonomia/às característica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0" i="0" u="none" strike="noStrike" kern="1200" cap="none" spc="0" normalizeH="0" baseline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Uma cor para destacar áreas ergonómicas (por exemplo, a pega) e características específicas do produto e os USP.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43A28BE-81F2-F3EA-BF95-B7361F2D69D8}"/>
                </a:ext>
              </a:extLst>
            </p:cNvPr>
            <p:cNvSpPr txBox="1"/>
            <p:nvPr/>
          </p:nvSpPr>
          <p:spPr>
            <a:xfrm>
              <a:off x="5929544" y="5553527"/>
              <a:ext cx="3566535" cy="9434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0" i="0" u="none" strike="noStrike" kern="1200" cap="none" spc="0" normalizeH="0" baseline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Bold" panose="02000000000000000000" pitchFamily="2" charset="0"/>
                  <a:ea typeface="Roboto Bold" panose="02000000000000000000" pitchFamily="2" charset="0"/>
                  <a:cs typeface="Roboto Bold" panose="02000000000000000000" pitchFamily="2" charset="0"/>
                </a:rPr>
                <a:t>Cor relativa à segurança/assistência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0" i="0" u="none" strike="noStrike" kern="1200" cap="none" spc="0" normalizeH="0" baseline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As peças desta cor indicam elementos de segurança (p. ex., cabos de carregamento, botões de marcha-atrás) e ponto de assistência.</a:t>
              </a:r>
            </a:p>
          </p:txBody>
        </p:sp>
      </p:grpSp>
      <p:sp>
        <p:nvSpPr>
          <p:cNvPr id="24" name="Title 18">
            <a:extLst>
              <a:ext uri="{FF2B5EF4-FFF2-40B4-BE49-F238E27FC236}">
                <a16:creationId xmlns:a16="http://schemas.microsoft.com/office/drawing/2014/main" id="{EC7DDE3C-25E1-00E9-1A8A-16BDC5672DB5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023967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989013" algn="l"/>
              </a:tabLst>
              <a:defRPr/>
            </a:pPr>
            <a:r>
              <a:rPr kumimoji="0" lang="pt-pt" sz="2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tratégia de cor CMF profissional de próxima geração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A364BAE-81CC-0E46-D392-9F55C5F864B6}"/>
              </a:ext>
            </a:extLst>
          </p:cNvPr>
          <p:cNvSpPr txBox="1">
            <a:spLocks/>
          </p:cNvSpPr>
          <p:nvPr/>
        </p:nvSpPr>
        <p:spPr>
          <a:xfrm>
            <a:off x="475521" y="873877"/>
            <a:ext cx="11235102" cy="376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aleta profission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0F6711-04D9-FD90-2CB2-CA699A153305}"/>
              </a:ext>
            </a:extLst>
          </p:cNvPr>
          <p:cNvSpPr txBox="1"/>
          <p:nvPr/>
        </p:nvSpPr>
        <p:spPr>
          <a:xfrm>
            <a:off x="7934325" y="6253096"/>
            <a:ext cx="339623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5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*A gama MH não estará disponível em plástico reciclado </a:t>
            </a:r>
          </a:p>
        </p:txBody>
      </p:sp>
      <p:pic>
        <p:nvPicPr>
          <p:cNvPr id="7" name="Picture 6" descr="A machine with wheels and a handle&#10;&#10;AI-generated content may be incorrect.">
            <a:extLst>
              <a:ext uri="{FF2B5EF4-FFF2-40B4-BE49-F238E27FC236}">
                <a16:creationId xmlns:a16="http://schemas.microsoft.com/office/drawing/2014/main" id="{6762C48B-DF34-3C14-C4F4-3BF8FA631DB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1064" y="891772"/>
            <a:ext cx="5510697" cy="5812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81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70D34-4E24-D134-9CA4-767388B114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D06C49-D125-91FB-C810-124BCBE6A0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Segmentos </a:t>
            </a:r>
          </a:p>
          <a:p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47F623-4BC1-E7F5-DBC7-453BF048C7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5DFE04-FC88-67E4-C2E5-AEA0B67EAC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7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196919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FFC671-F308-FE0E-C36A-45C2BF5EEE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C0FB0DD-6314-8036-A704-FF109C3654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C0FB0DD-6314-8036-A704-FF109C3654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8888B5-E630-AB4F-6BD9-BE9725613B1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F5899-313D-BF34-996B-E575EC262E2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8</a:t>
            </a:fld>
            <a:endParaRPr lang="pt-pt" noProof="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665F8DF-4290-E7EB-F7C8-BBD9F9724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493200"/>
            <a:ext cx="5762623" cy="388013"/>
          </a:xfrm>
        </p:spPr>
        <p:txBody>
          <a:bodyPr vert="horz"/>
          <a:lstStyle/>
          <a:p>
            <a:pPr algn="l" rtl="0"/>
            <a:r>
              <a:rPr lang="pt-pt" b="1" i="0" u="none" baseline="0"/>
              <a:t>Segmentos</a:t>
            </a:r>
            <a:r>
              <a:rPr lang="pt-pt" b="0" i="0" u="none" baseline="0"/>
              <a:t> </a:t>
            </a:r>
            <a:r>
              <a:rPr lang="pt-pt" b="1" i="0" u="none" baseline="0"/>
              <a:t>alvo</a:t>
            </a:r>
            <a:endParaRPr lang="pt-pt" sz="1800" noProof="0" dirty="0">
              <a:latin typeface="+mn-lt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667D820-D842-7A7A-B43C-8E79CBAF8739}"/>
              </a:ext>
            </a:extLst>
          </p:cNvPr>
          <p:cNvSpPr txBox="1">
            <a:spLocks/>
          </p:cNvSpPr>
          <p:nvPr/>
        </p:nvSpPr>
        <p:spPr>
          <a:xfrm>
            <a:off x="475521" y="873877"/>
            <a:ext cx="11235102" cy="376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plicaçõ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1D60540-3BC6-8FBA-1153-09EC99AB7B91}"/>
              </a:ext>
            </a:extLst>
          </p:cNvPr>
          <p:cNvSpPr txBox="1"/>
          <p:nvPr/>
        </p:nvSpPr>
        <p:spPr>
          <a:xfrm>
            <a:off x="475521" y="1419951"/>
            <a:ext cx="5227189" cy="31854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algn="l" defTabSz="914400" rtl="0" eaLnBrk="1" fontAlgn="auto" latinLnBrk="0" hangingPunct="1">
              <a:lnSpc>
                <a:spcPct val="10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1400" b="0" i="0" u="none" baseline="0" dirty="0">
                <a:solidFill>
                  <a:srgbClr val="28313F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rincipais segmentos alvo</a:t>
            </a:r>
          </a:p>
          <a:p>
            <a:pPr marL="180000" indent="-180000" algn="l" defTabSz="914400" rtl="0">
              <a:spcBef>
                <a:spcPts val="336"/>
              </a:spcBef>
              <a:buFont typeface="Arial" panose="020B0604020202020204" pitchFamily="34" charset="0"/>
              <a:buChar char="•"/>
              <a:defRPr/>
            </a:pPr>
            <a:r>
              <a:rPr lang="pt-pt" sz="1400" b="0" i="0" u="none" baseline="0" dirty="0">
                <a:solidFill>
                  <a:srgbClr val="28313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dústria</a:t>
            </a:r>
          </a:p>
          <a:p>
            <a:pPr marL="180000" indent="-180000" algn="l" defTabSz="914400" rtl="0">
              <a:spcBef>
                <a:spcPts val="336"/>
              </a:spcBef>
              <a:buFont typeface="Arial" panose="020B0604020202020204" pitchFamily="34" charset="0"/>
              <a:buChar char="•"/>
              <a:defRPr/>
            </a:pPr>
            <a:r>
              <a:rPr lang="pt-pt" sz="1400" b="0" i="0" u="none" baseline="0" dirty="0">
                <a:solidFill>
                  <a:srgbClr val="28313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dústria automóvel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Agricultura 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Edificação e construção</a:t>
            </a:r>
          </a:p>
          <a:p>
            <a:pPr marL="198000" marR="0" lvl="0" indent="0" algn="l" defTabSz="914400" rtl="0" eaLnBrk="1" fontAlgn="auto" latinLnBrk="0" hangingPunct="1">
              <a:lnSpc>
                <a:spcPct val="10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pt" sz="1400" noProof="0" dirty="0">
              <a:solidFill>
                <a:srgbClr val="28313F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R="0" lvl="0" indent="0" algn="l" defTabSz="914400" rtl="0" eaLnBrk="1" fontAlgn="auto" latinLnBrk="0" hangingPunct="1">
              <a:lnSpc>
                <a:spcPct val="10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rincipais aplicações e JTBD 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Limpeza de veículos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Limpeza de equipamentos 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Superfícies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Tarefas de limpeza que envolvem a remoção de óleos, gorduras e lubrifican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0667396-3317-BF72-A5AA-A7ED80980A29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0775" y="0"/>
            <a:ext cx="5991225" cy="627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6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2F75DF-E720-BABB-1380-AC33910BCC3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EE8784-BD13-CCF2-A048-DEA08E8E9D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9</a:t>
            </a:fld>
            <a:endParaRPr lang="pt-pt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0F091D-F5EC-0FBD-3A16-0C369B0FD8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cebida para o desempenho em todos os segmentos 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F173F5-9ED1-B75B-2F22-13115B9F2A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Gama MH </a:t>
            </a:r>
            <a:r>
              <a:rPr lang="pt-pt" b="0" i="0" u="none" baseline="0"/>
              <a:t>	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7019D1-C7DA-D712-6F75-D18566D1D163}"/>
              </a:ext>
            </a:extLst>
          </p:cNvPr>
          <p:cNvSpPr txBox="1"/>
          <p:nvPr/>
        </p:nvSpPr>
        <p:spPr>
          <a:xfrm>
            <a:off x="404544" y="1250333"/>
            <a:ext cx="1160884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pt-pt" sz="1600" b="0" i="0" u="none" baseline="0"/>
              <a:t>Cada setor tem exigências únicas. A gama MH oferece uma linha versátil de motores e bombas em vários tamanhos, concebidos para funcionar durante durações variáveis. Sem compromissos, apenas precisã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1DF21A-BD47-D30B-DE9D-0B20962C767B}"/>
              </a:ext>
            </a:extLst>
          </p:cNvPr>
          <p:cNvSpPr txBox="1"/>
          <p:nvPr/>
        </p:nvSpPr>
        <p:spPr>
          <a:xfrm>
            <a:off x="416381" y="4527469"/>
            <a:ext cx="289925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pt-pt" sz="1200" b="1" i="0" u="none" baseline="0" dirty="0"/>
              <a:t>Indústria automóvel </a:t>
            </a:r>
          </a:p>
          <a:p>
            <a:pPr algn="l" rtl="0"/>
            <a:r>
              <a:rPr lang="pt-pt" sz="1200" b="0" i="0" u="none" baseline="0" dirty="0"/>
              <a:t>As bombas de alto desempenho e a dosagem precisa de detergente tornam a gama MH ideal para a limpeza de camiões e reboques, desengorduramento de peças, limpeza de motores e pavimentos de oficinas - garantindo resultados impecáveis com o mínimo de desperdício e a máxima eficiência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298698D-EC91-A5F9-F9F1-5F231FFE8207}"/>
              </a:ext>
            </a:extLst>
          </p:cNvPr>
          <p:cNvSpPr txBox="1"/>
          <p:nvPr/>
        </p:nvSpPr>
        <p:spPr>
          <a:xfrm>
            <a:off x="3315632" y="4527470"/>
            <a:ext cx="289925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pt-pt" sz="1200" b="1" i="0" u="none" baseline="0" dirty="0"/>
              <a:t>Agricultura</a:t>
            </a:r>
          </a:p>
          <a:p>
            <a:pPr algn="l" rtl="0"/>
            <a:r>
              <a:rPr lang="pt-pt" sz="1200" b="0" i="0" u="none" baseline="0" dirty="0"/>
              <a:t>Com opções de bombas de grande dimensão, componentes robustos e longos períodos de funcionamento, a gama MH é ideal para a limpeza exigente de máquinas, equipamentos e áreas de animais ao longo do dia - aumentando a higiene e reduzindo o down-time no campo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493ED1-1233-147D-99FC-EB8DC8798A1C}"/>
              </a:ext>
            </a:extLst>
          </p:cNvPr>
          <p:cNvSpPr txBox="1"/>
          <p:nvPr/>
        </p:nvSpPr>
        <p:spPr>
          <a:xfrm>
            <a:off x="6214883" y="4527471"/>
            <a:ext cx="289925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pt-pt" sz="1200" b="1" i="0" u="none" baseline="0" dirty="0"/>
              <a:t>Edificação e construção </a:t>
            </a:r>
          </a:p>
          <a:p>
            <a:pPr algn="l" rtl="0"/>
            <a:r>
              <a:rPr lang="pt-pt" sz="1200" b="0" i="0" u="none" baseline="0" dirty="0"/>
              <a:t>Construída com uma interface robusta e à prova de água e predefinições de comutação rápida, a gama MH resiste a ambientes agressivos e a uma utilização intensiva - limpando betão, sujidade e detritos com facilidade, poupando tempo no loca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D54D392-2D9B-FFCF-9397-CE336DCE8614}"/>
              </a:ext>
            </a:extLst>
          </p:cNvPr>
          <p:cNvSpPr txBox="1"/>
          <p:nvPr/>
        </p:nvSpPr>
        <p:spPr>
          <a:xfrm>
            <a:off x="9229538" y="4527468"/>
            <a:ext cx="289925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pt-pt" sz="1200" b="1" i="0" u="none" baseline="0" dirty="0"/>
              <a:t>Indústria</a:t>
            </a:r>
            <a:br>
              <a:rPr lang="pt-pt" sz="1200" b="1" dirty="0"/>
            </a:br>
            <a:r>
              <a:rPr lang="pt-pt" sz="1200" b="0" i="0" u="none" baseline="0" dirty="0"/>
              <a:t> A pressão otimizada, o calor elevado e o design duradouro tornam a gama MH ideal para a limpeza de contentores, empilhadores e maquinaria industrial - removendo sujidade pesada e óleo com o mínimo desperdício e o máximo tempo de atividade</a:t>
            </a:r>
            <a:r>
              <a:rPr lang="pt-pt" sz="1200" b="1" i="0" u="none" baseline="0" dirty="0"/>
              <a:t>.</a:t>
            </a:r>
            <a:endParaRPr lang="pt-pt" sz="1200" noProof="0" dirty="0"/>
          </a:p>
        </p:txBody>
      </p:sp>
      <p:pic>
        <p:nvPicPr>
          <p:cNvPr id="8" name="Picture 7" descr="A person washing a tractor&#10;&#10;AI-generated content may be incorrect.">
            <a:extLst>
              <a:ext uri="{FF2B5EF4-FFF2-40B4-BE49-F238E27FC236}">
                <a16:creationId xmlns:a16="http://schemas.microsoft.com/office/drawing/2014/main" id="{60CC8E08-4B82-C022-D0D5-EC2077F1374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4508" y="2375681"/>
            <a:ext cx="2520000" cy="1680744"/>
          </a:xfrm>
          <a:prstGeom prst="rect">
            <a:avLst/>
          </a:prstGeom>
        </p:spPr>
      </p:pic>
      <p:pic>
        <p:nvPicPr>
          <p:cNvPr id="15" name="Picture 14" descr="A person cleaning a truck with a vacuum cleaner&#10;&#10;AI-generated content may be incorrect.">
            <a:extLst>
              <a:ext uri="{FF2B5EF4-FFF2-40B4-BE49-F238E27FC236}">
                <a16:creationId xmlns:a16="http://schemas.microsoft.com/office/drawing/2014/main" id="{7B6BCEA5-25F8-46BE-0FD7-51AC4FFA387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551" y="2375681"/>
            <a:ext cx="2520000" cy="1680706"/>
          </a:xfrm>
          <a:prstGeom prst="rect">
            <a:avLst/>
          </a:prstGeom>
        </p:spPr>
      </p:pic>
      <p:pic>
        <p:nvPicPr>
          <p:cNvPr id="23" name="Picture 22" descr="A person in orange and black overalls spraying water on a yellow container&#10;&#10;AI-generated content may be incorrect.">
            <a:extLst>
              <a:ext uri="{FF2B5EF4-FFF2-40B4-BE49-F238E27FC236}">
                <a16:creationId xmlns:a16="http://schemas.microsoft.com/office/drawing/2014/main" id="{190102A7-CC2C-B5F6-CBB9-67EAFF4AD2E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8734" y="2375681"/>
            <a:ext cx="2520000" cy="1680763"/>
          </a:xfrm>
          <a:prstGeom prst="rect">
            <a:avLst/>
          </a:prstGeom>
        </p:spPr>
      </p:pic>
      <p:pic>
        <p:nvPicPr>
          <p:cNvPr id="13" name="Picture 12" descr="A person spraying water on a machine&#10;&#10;AI-generated content may be incorrect.">
            <a:extLst>
              <a:ext uri="{FF2B5EF4-FFF2-40B4-BE49-F238E27FC236}">
                <a16:creationId xmlns:a16="http://schemas.microsoft.com/office/drawing/2014/main" id="{B29780C6-3254-2916-7A12-CEE8B3EA4673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0282" y="2398027"/>
            <a:ext cx="2520000" cy="168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4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LXJl66Ty2TO19_oTx4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oIFoBeg4kuf55HFBJqA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wEDwu9gEI.LCPXTuVR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1ZhReUbOOTz94IGaTP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dA61j6s7qyjKgG_HRT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aP7MZqCmVh3l9GQRran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.e6NrSTyd7rn8ljGGD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B.loBauLdxvwJrFZXwV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vrRxWvjFwRQPkXeJ4xg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kMS52XLVHSpIqM4eyT6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ljKXMLr6gyHdBhMS7i8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1SmZOR4vWqLka5PwCp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pUj.JVCXzqwKKyNH7N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ZsW9ej2LFlTPAB9ZJS6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ITBojpaelEWDC52o6S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A8o06M5lHEJIOAgnZKg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EJRX0.kueawWdmReiR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1ZhReUbOOTz94IGaTPb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1ZhReUbOOTz94IGaTP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EJRX0.kueawWdmReiR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1ZhReUbOOTz94IGaTPb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1ZhReUbOOTz94IGaTPb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1ZhReUbOOTz94IGaTP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1ZhReUbOOTz94IGaTPb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1ZhReUbOOTz94IGaTPb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1ZhReUbOOTz94IGaTPb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wEDwu9gEI.LCPXTuVR_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EJRX0.kueawWdmReiRo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EJRX0.kueawWdmReiR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1ZhReUbOOTz94IGaTPb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1ZhReUbOOTz94IGaTPb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1ZhReUbOOTz94IGaTP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1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ACC8E258210344A9FE922C0D29B270" ma:contentTypeVersion="16" ma:contentTypeDescription="Create a new document." ma:contentTypeScope="" ma:versionID="fd3e101f2f353f33feb8971ae4ec86b6">
  <xsd:schema xmlns:xsd="http://www.w3.org/2001/XMLSchema" xmlns:xs="http://www.w3.org/2001/XMLSchema" xmlns:p="http://schemas.microsoft.com/office/2006/metadata/properties" xmlns:ns2="6903b321-3545-4bfc-b111-7702843b6d40" xmlns:ns3="c56df868-51cc-4d63-9bd1-3347174802f5" targetNamespace="http://schemas.microsoft.com/office/2006/metadata/properties" ma:root="true" ma:fieldsID="bda11954bd90cc8fa027111a30383823" ns2:_="" ns3:_="">
    <xsd:import namespace="6903b321-3545-4bfc-b111-7702843b6d40"/>
    <xsd:import namespace="c56df868-51cc-4d63-9bd1-3347174802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3b321-3545-4bfc-b111-7702843b6d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6df868-51cc-4d63-9bd1-3347174802f5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7cfb0581-86ba-4f70-b3d8-e2806a0a35f0}" ma:internalName="TaxCatchAll" ma:showField="CatchAllData" ma:web="c56df868-51cc-4d63-9bd1-3347174802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56df868-51cc-4d63-9bd1-3347174802f5" xsi:nil="true"/>
    <lcf76f155ced4ddcb4097134ff3c332f xmlns="6903b321-3545-4bfc-b111-7702843b6d4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C992122-30C6-4213-A693-50B01CBC8B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03b321-3545-4bfc-b111-7702843b6d40"/>
    <ds:schemaRef ds:uri="c56df868-51cc-4d63-9bd1-3347174802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035D97F-54F6-4139-90B1-4BC360E16E53}">
  <ds:schemaRefs>
    <ds:schemaRef ds:uri="http://purl.org/dc/terms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9a261087-ddb5-4fc3-ae00-ca27a6304815"/>
    <ds:schemaRef ds:uri="101d09d1-2fba-4d93-a45c-1211151ee786"/>
    <ds:schemaRef ds:uri="http://schemas.microsoft.com/office/2006/metadata/properties"/>
    <ds:schemaRef ds:uri="http://purl.org/dc/dcmitype/"/>
    <ds:schemaRef ds:uri="c56df868-51cc-4d63-9bd1-3347174802f5"/>
    <ds:schemaRef ds:uri="6903b321-3545-4bfc-b111-7702843b6d4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545</TotalTime>
  <Words>7715</Words>
  <Application>Microsoft Office PowerPoint</Application>
  <PresentationFormat>Widescreen</PresentationFormat>
  <Paragraphs>2978</Paragraphs>
  <Slides>5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67" baseType="lpstr">
      <vt:lpstr>Arial</vt:lpstr>
      <vt:lpstr>Calibri</vt:lpstr>
      <vt:lpstr>Courier New</vt:lpstr>
      <vt:lpstr>Roboto</vt:lpstr>
      <vt:lpstr>Roboto Black</vt:lpstr>
      <vt:lpstr>Roboto Bold</vt:lpstr>
      <vt:lpstr>Roboto Light</vt:lpstr>
      <vt:lpstr>Roboto Medium</vt:lpstr>
      <vt:lpstr>Segoe MDL2 Assets</vt:lpstr>
      <vt:lpstr>Wingdings</vt:lpstr>
      <vt:lpstr>Nilfisk Toolbox_Standard_4-3</vt:lpstr>
      <vt:lpstr>1_Nilfisk Toolbox_Standard_4-3</vt:lpstr>
      <vt:lpstr>think-cell Slide</vt:lpstr>
      <vt:lpstr>Nova gama MH:  Apresentação de vendas</vt:lpstr>
      <vt:lpstr>Agenda</vt:lpstr>
      <vt:lpstr>1</vt:lpstr>
      <vt:lpstr>Proposta de valor </vt:lpstr>
      <vt:lpstr>2</vt:lpstr>
      <vt:lpstr>PowerPoint Presentation</vt:lpstr>
      <vt:lpstr>3</vt:lpstr>
      <vt:lpstr>Segmentos alvo</vt:lpstr>
      <vt:lpstr>Gama MH  </vt:lpstr>
      <vt:lpstr>4</vt:lpstr>
      <vt:lpstr>Concebida e desenvolvida para o desempenho</vt:lpstr>
      <vt:lpstr>Lançamentos e nomes da nova gama MH</vt:lpstr>
      <vt:lpstr>Novas ofertas de gama e atualizações </vt:lpstr>
      <vt:lpstr>Ofertas Advanced e Standard </vt:lpstr>
      <vt:lpstr>Advanced vs. Standard</vt:lpstr>
      <vt:lpstr>MH35-85</vt:lpstr>
      <vt:lpstr>MH35-85</vt:lpstr>
      <vt:lpstr>Interface do utilizador atualizada</vt:lpstr>
      <vt:lpstr>Interface do utilizador atualizada</vt:lpstr>
      <vt:lpstr>Interface do utilizador atualizada</vt:lpstr>
      <vt:lpstr>Interface do utilizador atualizada</vt:lpstr>
      <vt:lpstr>Interface do utilizador atualizada</vt:lpstr>
      <vt:lpstr>MH20-70</vt:lpstr>
      <vt:lpstr>MH20-70</vt:lpstr>
      <vt:lpstr>Interface do utilizador atualizada</vt:lpstr>
      <vt:lpstr>5</vt:lpstr>
      <vt:lpstr>Predefinições para uma limpeza eficiente </vt:lpstr>
      <vt:lpstr>Concebida para a eficiência </vt:lpstr>
      <vt:lpstr>A compatibilidade com biocombustíveis e a eficiência energética estão a poupar dinheiro aos nossos clientes</vt:lpstr>
      <vt:lpstr>A mudança para biocombustíveis reduz a pegada de carbono da utilização de HPW</vt:lpstr>
      <vt:lpstr>Caldeira de alta eficiência aprovada </vt:lpstr>
      <vt:lpstr>6</vt:lpstr>
      <vt:lpstr>Aplicação Ferramenta de Assistência </vt:lpstr>
      <vt:lpstr>7</vt:lpstr>
      <vt:lpstr>Patentes</vt:lpstr>
      <vt:lpstr>8</vt:lpstr>
      <vt:lpstr>Gama MH </vt:lpstr>
      <vt:lpstr>A gama MH </vt:lpstr>
      <vt:lpstr>Principais pontos para venda </vt:lpstr>
      <vt:lpstr>9</vt:lpstr>
      <vt:lpstr>MH35</vt:lpstr>
      <vt:lpstr>MH45</vt:lpstr>
      <vt:lpstr>MH55</vt:lpstr>
      <vt:lpstr>MH35</vt:lpstr>
      <vt:lpstr>MH45</vt:lpstr>
      <vt:lpstr>MH55</vt:lpstr>
      <vt:lpstr>MH30-50</vt:lpstr>
      <vt:lpstr>PowerPoint Presentation</vt:lpstr>
      <vt:lpstr>10</vt:lpstr>
      <vt:lpstr>MH35</vt:lpstr>
      <vt:lpstr>MH45</vt:lpstr>
      <vt:lpstr>MH55</vt:lpstr>
      <vt:lpstr>MH30-50</vt:lpstr>
      <vt:lpstr>PAC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Andreas Hagbarth</dc:creator>
  <cp:lastModifiedBy>Susana Jesus</cp:lastModifiedBy>
  <cp:revision>8</cp:revision>
  <dcterms:created xsi:type="dcterms:W3CDTF">2023-03-13T09:19:29Z</dcterms:created>
  <dcterms:modified xsi:type="dcterms:W3CDTF">2026-02-19T13:4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66ACC8E258210344A9FE922C0D29B270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